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71" r:id="rId1"/>
  </p:sldMasterIdLst>
  <p:notesMasterIdLst>
    <p:notesMasterId r:id="rId6"/>
  </p:notesMasterIdLst>
  <p:sldIdLst>
    <p:sldId id="268" r:id="rId2"/>
    <p:sldId id="276" r:id="rId3"/>
    <p:sldId id="279" r:id="rId4"/>
    <p:sldId id="277" r:id="rId5"/>
  </p:sldIdLst>
  <p:sldSz cx="20104100" cy="11309350"/>
  <p:notesSz cx="20104100" cy="11309350"/>
  <p:custDataLst>
    <p:tags r:id="rId7"/>
  </p:custDataLst>
  <p:defaultTextStyle>
    <a:defPPr>
      <a:defRPr kern="0"/>
    </a:defPPr>
  </p:defaultTextStyle>
  <p:extLst>
    <p:ext uri="{EFAFB233-063F-42B5-8137-9DF3F51BA10A}">
      <p15:sld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23235BE-A432-4693-8FB5-E69C88B0AD83}" v="3" dt="2023-05-03T10:30:22.771"/>
  </p1510:revLst>
</p1510:revInfo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899"/>
    <p:restoredTop sz="95666"/>
  </p:normalViewPr>
  <p:slideViewPr>
    <p:cSldViewPr>
      <p:cViewPr varScale="1">
        <p:scale>
          <a:sx n="61" d="100"/>
          <a:sy n="61" d="100"/>
        </p:scale>
        <p:origin x="704" y="208"/>
      </p:cViewPr>
      <p:guideLst>
        <p:guide orient="horz" pos="2880"/>
        <p:guide pos="216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tags" Target="tags/tag1.xml"/><Relationship Id="rId12" Type="http://schemas.microsoft.com/office/2015/10/relationships/revisionInfo" Target="revisionInfo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8712200" cy="5667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11387138" y="0"/>
            <a:ext cx="8712200" cy="5667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F64BF9-214F-CD44-829C-9ADB9F6D0BCA}" type="datetimeFigureOut">
              <a:rPr lang="en-US" smtClean="0"/>
              <a:t>10/5/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659563" y="1414463"/>
            <a:ext cx="6784975" cy="38163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009775" y="5441950"/>
            <a:ext cx="16084550" cy="44545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10742613"/>
            <a:ext cx="8712200" cy="56673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11387138" y="10742613"/>
            <a:ext cx="8712200" cy="56673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AD39B7A-604A-6349-9C68-AD3992AE1D9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941091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ai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>
            <a:extLst>
              <a:ext uri="{FF2B5EF4-FFF2-40B4-BE49-F238E27FC236}">
                <a16:creationId xmlns:a16="http://schemas.microsoft.com/office/drawing/2014/main" id="{E9967519-C923-ECF2-E304-635BDAEDB8D1}"/>
              </a:ext>
            </a:extLst>
          </p:cNvPr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20104099" cy="11308556"/>
          </a:xfrm>
          <a:prstGeom prst="rect">
            <a:avLst/>
          </a:prstGeom>
        </p:spPr>
      </p:pic>
      <p:pic>
        <p:nvPicPr>
          <p:cNvPr id="2" name="object 2">
            <a:extLst>
              <a:ext uri="{FF2B5EF4-FFF2-40B4-BE49-F238E27FC236}">
                <a16:creationId xmlns:a16="http://schemas.microsoft.com/office/drawing/2014/main" id="{64250786-EEE3-4D38-B204-447B42A65FEC}"/>
              </a:ext>
            </a:extLst>
          </p:cNvPr>
          <p:cNvPicPr/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20104099" cy="11308556"/>
          </a:xfrm>
          <a:prstGeom prst="rect">
            <a:avLst/>
          </a:prstGeom>
        </p:spPr>
      </p:pic>
      <p:pic>
        <p:nvPicPr>
          <p:cNvPr id="6" name="Picture 5" descr="Logo&#10;&#10;Description automatically generated">
            <a:extLst>
              <a:ext uri="{FF2B5EF4-FFF2-40B4-BE49-F238E27FC236}">
                <a16:creationId xmlns:a16="http://schemas.microsoft.com/office/drawing/2014/main" id="{444A8B25-2F3E-AD99-8168-053B62CA3A9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364" r="4651" b="11733"/>
          <a:stretch/>
        </p:blipFill>
        <p:spPr>
          <a:xfrm>
            <a:off x="0" y="7238851"/>
            <a:ext cx="4435426" cy="4070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181382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ext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bg object 16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8730205"/>
            <a:ext cx="20104099" cy="2264224"/>
          </a:xfrm>
          <a:prstGeom prst="rect">
            <a:avLst/>
          </a:prstGeom>
        </p:spPr>
      </p:pic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>
          <a:xfrm>
            <a:off x="18305907" y="10650865"/>
            <a:ext cx="890143" cy="261610"/>
          </a:xfrm>
        </p:spPr>
        <p:txBody>
          <a:bodyPr lIns="0" tIns="0" rIns="0" bIns="0"/>
          <a:lstStyle>
            <a:lvl1pPr algn="r">
              <a:defRPr sz="1700" b="0" i="0">
                <a:solidFill>
                  <a:schemeClr val="accent1"/>
                </a:solidFill>
                <a:latin typeface="Avenir Medium" panose="02000503020000020003" pitchFamily="2" charset="0"/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492015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ext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>
          <a:xfrm>
            <a:off x="18305907" y="10650865"/>
            <a:ext cx="890143" cy="261610"/>
          </a:xfrm>
        </p:spPr>
        <p:txBody>
          <a:bodyPr lIns="0" tIns="0" rIns="0" bIns="0"/>
          <a:lstStyle>
            <a:lvl1pPr algn="r">
              <a:defRPr sz="1700" b="0" i="0">
                <a:solidFill>
                  <a:schemeClr val="accent1"/>
                </a:solidFill>
                <a:latin typeface="Avenir Medium" panose="02000503020000020003" pitchFamily="2" charset="0"/>
              </a:defRPr>
            </a:lvl1pPr>
          </a:lstStyle>
          <a:p>
            <a:fld id="{B6F15528-21DE-4FAA-801E-634DDDAF4B2B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2" name="object 3">
            <a:extLst>
              <a:ext uri="{FF2B5EF4-FFF2-40B4-BE49-F238E27FC236}">
                <a16:creationId xmlns:a16="http://schemas.microsoft.com/office/drawing/2014/main" id="{EDB98CEB-C4A2-4F5E-321A-AE30A7B9ACC9}"/>
              </a:ext>
            </a:extLst>
          </p:cNvPr>
          <p:cNvPicPr/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-18757"/>
            <a:ext cx="20104099" cy="11308556"/>
          </a:xfrm>
          <a:prstGeom prst="rect">
            <a:avLst/>
          </a:prstGeom>
        </p:spPr>
      </p:pic>
      <p:sp>
        <p:nvSpPr>
          <p:cNvPr id="3" name="Picture Placeholder 4">
            <a:extLst>
              <a:ext uri="{FF2B5EF4-FFF2-40B4-BE49-F238E27FC236}">
                <a16:creationId xmlns:a16="http://schemas.microsoft.com/office/drawing/2014/main" id="{E435AB63-3374-2A54-389C-CA2DFC64CE8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441201" y="4054475"/>
            <a:ext cx="13059399" cy="7271386"/>
          </a:xfrm>
          <a:custGeom>
            <a:avLst/>
            <a:gdLst>
              <a:gd name="connsiteX0" fmla="*/ 0 w 7086600"/>
              <a:gd name="connsiteY0" fmla="*/ 0 h 276999"/>
              <a:gd name="connsiteX1" fmla="*/ 7086600 w 7086600"/>
              <a:gd name="connsiteY1" fmla="*/ 0 h 276999"/>
              <a:gd name="connsiteX2" fmla="*/ 7086600 w 7086600"/>
              <a:gd name="connsiteY2" fmla="*/ 276999 h 276999"/>
              <a:gd name="connsiteX3" fmla="*/ 0 w 7086600"/>
              <a:gd name="connsiteY3" fmla="*/ 276999 h 276999"/>
              <a:gd name="connsiteX4" fmla="*/ 0 w 7086600"/>
              <a:gd name="connsiteY4" fmla="*/ 0 h 276999"/>
              <a:gd name="connsiteX0" fmla="*/ 5625548 w 7086600"/>
              <a:gd name="connsiteY0" fmla="*/ 0 h 4242712"/>
              <a:gd name="connsiteX1" fmla="*/ 7086600 w 7086600"/>
              <a:gd name="connsiteY1" fmla="*/ 3965713 h 4242712"/>
              <a:gd name="connsiteX2" fmla="*/ 7086600 w 7086600"/>
              <a:gd name="connsiteY2" fmla="*/ 4242712 h 4242712"/>
              <a:gd name="connsiteX3" fmla="*/ 0 w 7086600"/>
              <a:gd name="connsiteY3" fmla="*/ 4242712 h 4242712"/>
              <a:gd name="connsiteX4" fmla="*/ 5625548 w 7086600"/>
              <a:gd name="connsiteY4" fmla="*/ 0 h 4242712"/>
              <a:gd name="connsiteX0" fmla="*/ 10873409 w 12334461"/>
              <a:gd name="connsiteY0" fmla="*/ 0 h 8963799"/>
              <a:gd name="connsiteX1" fmla="*/ 12334461 w 12334461"/>
              <a:gd name="connsiteY1" fmla="*/ 3965713 h 8963799"/>
              <a:gd name="connsiteX2" fmla="*/ 12334461 w 12334461"/>
              <a:gd name="connsiteY2" fmla="*/ 4242712 h 8963799"/>
              <a:gd name="connsiteX3" fmla="*/ 0 w 12334461"/>
              <a:gd name="connsiteY3" fmla="*/ 8963799 h 8963799"/>
              <a:gd name="connsiteX4" fmla="*/ 10873409 w 12334461"/>
              <a:gd name="connsiteY4" fmla="*/ 0 h 8963799"/>
              <a:gd name="connsiteX0" fmla="*/ 10873409 w 14660218"/>
              <a:gd name="connsiteY0" fmla="*/ 0 h 8963799"/>
              <a:gd name="connsiteX1" fmla="*/ 12334461 w 14660218"/>
              <a:gd name="connsiteY1" fmla="*/ 3965713 h 8963799"/>
              <a:gd name="connsiteX2" fmla="*/ 14660218 w 14660218"/>
              <a:gd name="connsiteY2" fmla="*/ 7592199 h 8963799"/>
              <a:gd name="connsiteX3" fmla="*/ 0 w 14660218"/>
              <a:gd name="connsiteY3" fmla="*/ 8963799 h 8963799"/>
              <a:gd name="connsiteX4" fmla="*/ 10873409 w 14660218"/>
              <a:gd name="connsiteY4" fmla="*/ 0 h 8963799"/>
              <a:gd name="connsiteX0" fmla="*/ 10873409 w 14948452"/>
              <a:gd name="connsiteY0" fmla="*/ 0 h 8963799"/>
              <a:gd name="connsiteX1" fmla="*/ 14948452 w 14948452"/>
              <a:gd name="connsiteY1" fmla="*/ 6231835 h 8963799"/>
              <a:gd name="connsiteX2" fmla="*/ 14660218 w 14948452"/>
              <a:gd name="connsiteY2" fmla="*/ 7592199 h 8963799"/>
              <a:gd name="connsiteX3" fmla="*/ 0 w 14948452"/>
              <a:gd name="connsiteY3" fmla="*/ 8963799 h 8963799"/>
              <a:gd name="connsiteX4" fmla="*/ 10873409 w 14948452"/>
              <a:gd name="connsiteY4" fmla="*/ 0 h 8963799"/>
              <a:gd name="connsiteX0" fmla="*/ 10873409 w 16210723"/>
              <a:gd name="connsiteY0" fmla="*/ 0 h 8963799"/>
              <a:gd name="connsiteX1" fmla="*/ 14948452 w 16210723"/>
              <a:gd name="connsiteY1" fmla="*/ 6231835 h 8963799"/>
              <a:gd name="connsiteX2" fmla="*/ 16210723 w 16210723"/>
              <a:gd name="connsiteY2" fmla="*/ 8963799 h 8963799"/>
              <a:gd name="connsiteX3" fmla="*/ 0 w 16210723"/>
              <a:gd name="connsiteY3" fmla="*/ 8963799 h 8963799"/>
              <a:gd name="connsiteX4" fmla="*/ 10873409 w 16210723"/>
              <a:gd name="connsiteY4" fmla="*/ 0 h 8963799"/>
              <a:gd name="connsiteX0" fmla="*/ 10873409 w 16210723"/>
              <a:gd name="connsiteY0" fmla="*/ 0 h 8963799"/>
              <a:gd name="connsiteX1" fmla="*/ 14910352 w 16210723"/>
              <a:gd name="connsiteY1" fmla="*/ 6225485 h 8963799"/>
              <a:gd name="connsiteX2" fmla="*/ 16210723 w 16210723"/>
              <a:gd name="connsiteY2" fmla="*/ 8963799 h 8963799"/>
              <a:gd name="connsiteX3" fmla="*/ 0 w 16210723"/>
              <a:gd name="connsiteY3" fmla="*/ 8963799 h 8963799"/>
              <a:gd name="connsiteX4" fmla="*/ 10873409 w 16210723"/>
              <a:gd name="connsiteY4" fmla="*/ 0 h 8963799"/>
              <a:gd name="connsiteX0" fmla="*/ 10873409 w 16210723"/>
              <a:gd name="connsiteY0" fmla="*/ 0 h 8963799"/>
              <a:gd name="connsiteX1" fmla="*/ 14910352 w 16210723"/>
              <a:gd name="connsiteY1" fmla="*/ 6225485 h 8963799"/>
              <a:gd name="connsiteX2" fmla="*/ 14988761 w 16210723"/>
              <a:gd name="connsiteY2" fmla="*/ 6388238 h 8963799"/>
              <a:gd name="connsiteX3" fmla="*/ 16210723 w 16210723"/>
              <a:gd name="connsiteY3" fmla="*/ 8963799 h 8963799"/>
              <a:gd name="connsiteX4" fmla="*/ 0 w 16210723"/>
              <a:gd name="connsiteY4" fmla="*/ 8963799 h 8963799"/>
              <a:gd name="connsiteX5" fmla="*/ 10873409 w 16210723"/>
              <a:gd name="connsiteY5" fmla="*/ 0 h 8963799"/>
              <a:gd name="connsiteX0" fmla="*/ 10873409 w 16210723"/>
              <a:gd name="connsiteY0" fmla="*/ 0 h 8963799"/>
              <a:gd name="connsiteX1" fmla="*/ 14910352 w 16210723"/>
              <a:gd name="connsiteY1" fmla="*/ 6225485 h 8963799"/>
              <a:gd name="connsiteX2" fmla="*/ 14658561 w 16210723"/>
              <a:gd name="connsiteY2" fmla="*/ 7534413 h 8963799"/>
              <a:gd name="connsiteX3" fmla="*/ 16210723 w 16210723"/>
              <a:gd name="connsiteY3" fmla="*/ 8963799 h 8963799"/>
              <a:gd name="connsiteX4" fmla="*/ 0 w 16210723"/>
              <a:gd name="connsiteY4" fmla="*/ 8963799 h 8963799"/>
              <a:gd name="connsiteX5" fmla="*/ 10873409 w 16210723"/>
              <a:gd name="connsiteY5" fmla="*/ 0 h 8963799"/>
              <a:gd name="connsiteX0" fmla="*/ 10873409 w 16210723"/>
              <a:gd name="connsiteY0" fmla="*/ 0 h 8963799"/>
              <a:gd name="connsiteX1" fmla="*/ 14910352 w 16210723"/>
              <a:gd name="connsiteY1" fmla="*/ 6225485 h 8963799"/>
              <a:gd name="connsiteX2" fmla="*/ 14658561 w 16210723"/>
              <a:gd name="connsiteY2" fmla="*/ 7534413 h 8963799"/>
              <a:gd name="connsiteX3" fmla="*/ 14763336 w 16210723"/>
              <a:gd name="connsiteY3" fmla="*/ 7629663 h 8963799"/>
              <a:gd name="connsiteX4" fmla="*/ 16210723 w 16210723"/>
              <a:gd name="connsiteY4" fmla="*/ 8963799 h 8963799"/>
              <a:gd name="connsiteX5" fmla="*/ 0 w 16210723"/>
              <a:gd name="connsiteY5" fmla="*/ 8963799 h 8963799"/>
              <a:gd name="connsiteX6" fmla="*/ 10873409 w 16210723"/>
              <a:gd name="connsiteY6" fmla="*/ 0 h 8963799"/>
              <a:gd name="connsiteX0" fmla="*/ 10873409 w 16210723"/>
              <a:gd name="connsiteY0" fmla="*/ 0 h 8963799"/>
              <a:gd name="connsiteX1" fmla="*/ 14910352 w 16210723"/>
              <a:gd name="connsiteY1" fmla="*/ 6225485 h 8963799"/>
              <a:gd name="connsiteX2" fmla="*/ 14658561 w 16210723"/>
              <a:gd name="connsiteY2" fmla="*/ 7534413 h 8963799"/>
              <a:gd name="connsiteX3" fmla="*/ 14699836 w 16210723"/>
              <a:gd name="connsiteY3" fmla="*/ 7664588 h 8963799"/>
              <a:gd name="connsiteX4" fmla="*/ 16210723 w 16210723"/>
              <a:gd name="connsiteY4" fmla="*/ 8963799 h 8963799"/>
              <a:gd name="connsiteX5" fmla="*/ 0 w 16210723"/>
              <a:gd name="connsiteY5" fmla="*/ 8963799 h 8963799"/>
              <a:gd name="connsiteX6" fmla="*/ 10873409 w 16210723"/>
              <a:gd name="connsiteY6" fmla="*/ 0 h 8963799"/>
              <a:gd name="connsiteX0" fmla="*/ 10873409 w 16210723"/>
              <a:gd name="connsiteY0" fmla="*/ 0 h 8963799"/>
              <a:gd name="connsiteX1" fmla="*/ 14910352 w 16210723"/>
              <a:gd name="connsiteY1" fmla="*/ 6225485 h 8963799"/>
              <a:gd name="connsiteX2" fmla="*/ 14658561 w 16210723"/>
              <a:gd name="connsiteY2" fmla="*/ 7534413 h 8963799"/>
              <a:gd name="connsiteX3" fmla="*/ 14699836 w 16210723"/>
              <a:gd name="connsiteY3" fmla="*/ 7664588 h 8963799"/>
              <a:gd name="connsiteX4" fmla="*/ 16210723 w 16210723"/>
              <a:gd name="connsiteY4" fmla="*/ 8963799 h 8963799"/>
              <a:gd name="connsiteX5" fmla="*/ 0 w 16210723"/>
              <a:gd name="connsiteY5" fmla="*/ 8963799 h 8963799"/>
              <a:gd name="connsiteX6" fmla="*/ 10873409 w 16210723"/>
              <a:gd name="connsiteY6" fmla="*/ 0 h 8963799"/>
              <a:gd name="connsiteX0" fmla="*/ 10873409 w 16150398"/>
              <a:gd name="connsiteY0" fmla="*/ 0 h 8963799"/>
              <a:gd name="connsiteX1" fmla="*/ 14910352 w 16150398"/>
              <a:gd name="connsiteY1" fmla="*/ 6225485 h 8963799"/>
              <a:gd name="connsiteX2" fmla="*/ 14658561 w 16150398"/>
              <a:gd name="connsiteY2" fmla="*/ 7534413 h 8963799"/>
              <a:gd name="connsiteX3" fmla="*/ 14699836 w 16150398"/>
              <a:gd name="connsiteY3" fmla="*/ 7664588 h 8963799"/>
              <a:gd name="connsiteX4" fmla="*/ 16150398 w 16150398"/>
              <a:gd name="connsiteY4" fmla="*/ 8951099 h 8963799"/>
              <a:gd name="connsiteX5" fmla="*/ 0 w 16150398"/>
              <a:gd name="connsiteY5" fmla="*/ 8963799 h 8963799"/>
              <a:gd name="connsiteX6" fmla="*/ 10873409 w 16150398"/>
              <a:gd name="connsiteY6" fmla="*/ 0 h 8963799"/>
              <a:gd name="connsiteX0" fmla="*/ 10873409 w 16150398"/>
              <a:gd name="connsiteY0" fmla="*/ 0 h 8963799"/>
              <a:gd name="connsiteX1" fmla="*/ 14910352 w 16150398"/>
              <a:gd name="connsiteY1" fmla="*/ 6225485 h 8963799"/>
              <a:gd name="connsiteX2" fmla="*/ 14658561 w 16150398"/>
              <a:gd name="connsiteY2" fmla="*/ 7534413 h 8963799"/>
              <a:gd name="connsiteX3" fmla="*/ 14699836 w 16150398"/>
              <a:gd name="connsiteY3" fmla="*/ 7664588 h 8963799"/>
              <a:gd name="connsiteX4" fmla="*/ 16150398 w 16150398"/>
              <a:gd name="connsiteY4" fmla="*/ 8951099 h 8963799"/>
              <a:gd name="connsiteX5" fmla="*/ 0 w 16150398"/>
              <a:gd name="connsiteY5" fmla="*/ 8963799 h 8963799"/>
              <a:gd name="connsiteX6" fmla="*/ 10873409 w 16150398"/>
              <a:gd name="connsiteY6" fmla="*/ 0 h 8963799"/>
              <a:gd name="connsiteX0" fmla="*/ 10873409 w 16150398"/>
              <a:gd name="connsiteY0" fmla="*/ 0 h 8963799"/>
              <a:gd name="connsiteX1" fmla="*/ 14910352 w 16150398"/>
              <a:gd name="connsiteY1" fmla="*/ 6225485 h 8963799"/>
              <a:gd name="connsiteX2" fmla="*/ 14658561 w 16150398"/>
              <a:gd name="connsiteY2" fmla="*/ 7534413 h 8963799"/>
              <a:gd name="connsiteX3" fmla="*/ 14699836 w 16150398"/>
              <a:gd name="connsiteY3" fmla="*/ 7664588 h 8963799"/>
              <a:gd name="connsiteX4" fmla="*/ 16150398 w 16150398"/>
              <a:gd name="connsiteY4" fmla="*/ 8951099 h 8963799"/>
              <a:gd name="connsiteX5" fmla="*/ 0 w 16150398"/>
              <a:gd name="connsiteY5" fmla="*/ 8963799 h 8963799"/>
              <a:gd name="connsiteX6" fmla="*/ 10873409 w 16150398"/>
              <a:gd name="connsiteY6" fmla="*/ 0 h 8963799"/>
              <a:gd name="connsiteX0" fmla="*/ 10873409 w 16150398"/>
              <a:gd name="connsiteY0" fmla="*/ 0 h 8963799"/>
              <a:gd name="connsiteX1" fmla="*/ 14910352 w 16150398"/>
              <a:gd name="connsiteY1" fmla="*/ 6225485 h 8963799"/>
              <a:gd name="connsiteX2" fmla="*/ 14658561 w 16150398"/>
              <a:gd name="connsiteY2" fmla="*/ 7534413 h 8963799"/>
              <a:gd name="connsiteX3" fmla="*/ 14750636 w 16150398"/>
              <a:gd name="connsiteY3" fmla="*/ 7709038 h 8963799"/>
              <a:gd name="connsiteX4" fmla="*/ 16150398 w 16150398"/>
              <a:gd name="connsiteY4" fmla="*/ 8951099 h 8963799"/>
              <a:gd name="connsiteX5" fmla="*/ 0 w 16150398"/>
              <a:gd name="connsiteY5" fmla="*/ 8963799 h 8963799"/>
              <a:gd name="connsiteX6" fmla="*/ 10873409 w 16150398"/>
              <a:gd name="connsiteY6" fmla="*/ 0 h 8963799"/>
              <a:gd name="connsiteX0" fmla="*/ 10873409 w 16150398"/>
              <a:gd name="connsiteY0" fmla="*/ 0 h 8963799"/>
              <a:gd name="connsiteX1" fmla="*/ 14910352 w 16150398"/>
              <a:gd name="connsiteY1" fmla="*/ 6225485 h 8963799"/>
              <a:gd name="connsiteX2" fmla="*/ 14658561 w 16150398"/>
              <a:gd name="connsiteY2" fmla="*/ 7534413 h 8963799"/>
              <a:gd name="connsiteX3" fmla="*/ 14750636 w 16150398"/>
              <a:gd name="connsiteY3" fmla="*/ 7709038 h 8963799"/>
              <a:gd name="connsiteX4" fmla="*/ 16150398 w 16150398"/>
              <a:gd name="connsiteY4" fmla="*/ 8951099 h 8963799"/>
              <a:gd name="connsiteX5" fmla="*/ 0 w 16150398"/>
              <a:gd name="connsiteY5" fmla="*/ 8963799 h 8963799"/>
              <a:gd name="connsiteX6" fmla="*/ 10873409 w 16150398"/>
              <a:gd name="connsiteY6" fmla="*/ 0 h 8963799"/>
              <a:gd name="connsiteX0" fmla="*/ 10873409 w 16150398"/>
              <a:gd name="connsiteY0" fmla="*/ 0 h 8963799"/>
              <a:gd name="connsiteX1" fmla="*/ 14910352 w 16150398"/>
              <a:gd name="connsiteY1" fmla="*/ 6225485 h 8963799"/>
              <a:gd name="connsiteX2" fmla="*/ 14680786 w 16150398"/>
              <a:gd name="connsiteY2" fmla="*/ 7426463 h 8963799"/>
              <a:gd name="connsiteX3" fmla="*/ 14750636 w 16150398"/>
              <a:gd name="connsiteY3" fmla="*/ 7709038 h 8963799"/>
              <a:gd name="connsiteX4" fmla="*/ 16150398 w 16150398"/>
              <a:gd name="connsiteY4" fmla="*/ 8951099 h 8963799"/>
              <a:gd name="connsiteX5" fmla="*/ 0 w 16150398"/>
              <a:gd name="connsiteY5" fmla="*/ 8963799 h 8963799"/>
              <a:gd name="connsiteX6" fmla="*/ 10873409 w 16150398"/>
              <a:gd name="connsiteY6" fmla="*/ 0 h 8963799"/>
              <a:gd name="connsiteX0" fmla="*/ 10873409 w 16150398"/>
              <a:gd name="connsiteY0" fmla="*/ 0 h 8963799"/>
              <a:gd name="connsiteX1" fmla="*/ 14910352 w 16150398"/>
              <a:gd name="connsiteY1" fmla="*/ 6225485 h 8963799"/>
              <a:gd name="connsiteX2" fmla="*/ 14680786 w 16150398"/>
              <a:gd name="connsiteY2" fmla="*/ 7426463 h 8963799"/>
              <a:gd name="connsiteX3" fmla="*/ 14750636 w 16150398"/>
              <a:gd name="connsiteY3" fmla="*/ 7709038 h 8963799"/>
              <a:gd name="connsiteX4" fmla="*/ 16150398 w 16150398"/>
              <a:gd name="connsiteY4" fmla="*/ 8951099 h 8963799"/>
              <a:gd name="connsiteX5" fmla="*/ 0 w 16150398"/>
              <a:gd name="connsiteY5" fmla="*/ 8963799 h 8963799"/>
              <a:gd name="connsiteX6" fmla="*/ 10873409 w 16150398"/>
              <a:gd name="connsiteY6" fmla="*/ 0 h 8963799"/>
              <a:gd name="connsiteX0" fmla="*/ 10873409 w 16150398"/>
              <a:gd name="connsiteY0" fmla="*/ 0 h 8963799"/>
              <a:gd name="connsiteX1" fmla="*/ 14904002 w 16150398"/>
              <a:gd name="connsiteY1" fmla="*/ 6235010 h 8963799"/>
              <a:gd name="connsiteX2" fmla="*/ 14680786 w 16150398"/>
              <a:gd name="connsiteY2" fmla="*/ 7426463 h 8963799"/>
              <a:gd name="connsiteX3" fmla="*/ 14750636 w 16150398"/>
              <a:gd name="connsiteY3" fmla="*/ 7709038 h 8963799"/>
              <a:gd name="connsiteX4" fmla="*/ 16150398 w 16150398"/>
              <a:gd name="connsiteY4" fmla="*/ 8951099 h 8963799"/>
              <a:gd name="connsiteX5" fmla="*/ 0 w 16150398"/>
              <a:gd name="connsiteY5" fmla="*/ 8963799 h 8963799"/>
              <a:gd name="connsiteX6" fmla="*/ 10873409 w 16150398"/>
              <a:gd name="connsiteY6" fmla="*/ 0 h 8963799"/>
              <a:gd name="connsiteX0" fmla="*/ 10873409 w 16150398"/>
              <a:gd name="connsiteY0" fmla="*/ 0 h 8963799"/>
              <a:gd name="connsiteX1" fmla="*/ 14957977 w 16150398"/>
              <a:gd name="connsiteY1" fmla="*/ 6212785 h 8963799"/>
              <a:gd name="connsiteX2" fmla="*/ 14680786 w 16150398"/>
              <a:gd name="connsiteY2" fmla="*/ 7426463 h 8963799"/>
              <a:gd name="connsiteX3" fmla="*/ 14750636 w 16150398"/>
              <a:gd name="connsiteY3" fmla="*/ 7709038 h 8963799"/>
              <a:gd name="connsiteX4" fmla="*/ 16150398 w 16150398"/>
              <a:gd name="connsiteY4" fmla="*/ 8951099 h 8963799"/>
              <a:gd name="connsiteX5" fmla="*/ 0 w 16150398"/>
              <a:gd name="connsiteY5" fmla="*/ 8963799 h 8963799"/>
              <a:gd name="connsiteX6" fmla="*/ 10873409 w 16150398"/>
              <a:gd name="connsiteY6" fmla="*/ 0 h 8963799"/>
              <a:gd name="connsiteX0" fmla="*/ 10873409 w 16150398"/>
              <a:gd name="connsiteY0" fmla="*/ 0 h 8963799"/>
              <a:gd name="connsiteX1" fmla="*/ 14910352 w 16150398"/>
              <a:gd name="connsiteY1" fmla="*/ 6222310 h 8963799"/>
              <a:gd name="connsiteX2" fmla="*/ 14680786 w 16150398"/>
              <a:gd name="connsiteY2" fmla="*/ 7426463 h 8963799"/>
              <a:gd name="connsiteX3" fmla="*/ 14750636 w 16150398"/>
              <a:gd name="connsiteY3" fmla="*/ 7709038 h 8963799"/>
              <a:gd name="connsiteX4" fmla="*/ 16150398 w 16150398"/>
              <a:gd name="connsiteY4" fmla="*/ 8951099 h 8963799"/>
              <a:gd name="connsiteX5" fmla="*/ 0 w 16150398"/>
              <a:gd name="connsiteY5" fmla="*/ 8963799 h 8963799"/>
              <a:gd name="connsiteX6" fmla="*/ 10873409 w 16150398"/>
              <a:gd name="connsiteY6" fmla="*/ 0 h 8963799"/>
              <a:gd name="connsiteX0" fmla="*/ 10863884 w 16150398"/>
              <a:gd name="connsiteY0" fmla="*/ 0 h 8938399"/>
              <a:gd name="connsiteX1" fmla="*/ 14910352 w 16150398"/>
              <a:gd name="connsiteY1" fmla="*/ 6196910 h 8938399"/>
              <a:gd name="connsiteX2" fmla="*/ 14680786 w 16150398"/>
              <a:gd name="connsiteY2" fmla="*/ 7401063 h 8938399"/>
              <a:gd name="connsiteX3" fmla="*/ 14750636 w 16150398"/>
              <a:gd name="connsiteY3" fmla="*/ 7683638 h 8938399"/>
              <a:gd name="connsiteX4" fmla="*/ 16150398 w 16150398"/>
              <a:gd name="connsiteY4" fmla="*/ 8925699 h 8938399"/>
              <a:gd name="connsiteX5" fmla="*/ 0 w 16150398"/>
              <a:gd name="connsiteY5" fmla="*/ 8938399 h 8938399"/>
              <a:gd name="connsiteX6" fmla="*/ 10863884 w 16150398"/>
              <a:gd name="connsiteY6" fmla="*/ 0 h 8938399"/>
              <a:gd name="connsiteX0" fmla="*/ 10892459 w 16178973"/>
              <a:gd name="connsiteY0" fmla="*/ 0 h 8925699"/>
              <a:gd name="connsiteX1" fmla="*/ 14938927 w 16178973"/>
              <a:gd name="connsiteY1" fmla="*/ 6196910 h 8925699"/>
              <a:gd name="connsiteX2" fmla="*/ 14709361 w 16178973"/>
              <a:gd name="connsiteY2" fmla="*/ 7401063 h 8925699"/>
              <a:gd name="connsiteX3" fmla="*/ 14779211 w 16178973"/>
              <a:gd name="connsiteY3" fmla="*/ 7683638 h 8925699"/>
              <a:gd name="connsiteX4" fmla="*/ 16178973 w 16178973"/>
              <a:gd name="connsiteY4" fmla="*/ 8925699 h 8925699"/>
              <a:gd name="connsiteX5" fmla="*/ 0 w 16178973"/>
              <a:gd name="connsiteY5" fmla="*/ 8919349 h 8925699"/>
              <a:gd name="connsiteX6" fmla="*/ 10892459 w 16178973"/>
              <a:gd name="connsiteY6" fmla="*/ 0 h 8925699"/>
              <a:gd name="connsiteX0" fmla="*/ 10892459 w 16178973"/>
              <a:gd name="connsiteY0" fmla="*/ 0 h 8925699"/>
              <a:gd name="connsiteX1" fmla="*/ 14938927 w 16178973"/>
              <a:gd name="connsiteY1" fmla="*/ 6196910 h 8925699"/>
              <a:gd name="connsiteX2" fmla="*/ 14709361 w 16178973"/>
              <a:gd name="connsiteY2" fmla="*/ 7401063 h 8925699"/>
              <a:gd name="connsiteX3" fmla="*/ 14779211 w 16178973"/>
              <a:gd name="connsiteY3" fmla="*/ 7683638 h 8925699"/>
              <a:gd name="connsiteX4" fmla="*/ 16178973 w 16178973"/>
              <a:gd name="connsiteY4" fmla="*/ 8925699 h 8925699"/>
              <a:gd name="connsiteX5" fmla="*/ 0 w 16178973"/>
              <a:gd name="connsiteY5" fmla="*/ 8919349 h 8925699"/>
              <a:gd name="connsiteX6" fmla="*/ 1545812 w 16178973"/>
              <a:gd name="connsiteY6" fmla="*/ 7648713 h 8925699"/>
              <a:gd name="connsiteX7" fmla="*/ 10892459 w 16178973"/>
              <a:gd name="connsiteY7" fmla="*/ 0 h 8925699"/>
              <a:gd name="connsiteX0" fmla="*/ 10892459 w 16178973"/>
              <a:gd name="connsiteY0" fmla="*/ 0 h 8925699"/>
              <a:gd name="connsiteX1" fmla="*/ 14938927 w 16178973"/>
              <a:gd name="connsiteY1" fmla="*/ 6196910 h 8925699"/>
              <a:gd name="connsiteX2" fmla="*/ 14709361 w 16178973"/>
              <a:gd name="connsiteY2" fmla="*/ 7401063 h 8925699"/>
              <a:gd name="connsiteX3" fmla="*/ 14779211 w 16178973"/>
              <a:gd name="connsiteY3" fmla="*/ 7683638 h 8925699"/>
              <a:gd name="connsiteX4" fmla="*/ 16178973 w 16178973"/>
              <a:gd name="connsiteY4" fmla="*/ 8925699 h 8925699"/>
              <a:gd name="connsiteX5" fmla="*/ 0 w 16178973"/>
              <a:gd name="connsiteY5" fmla="*/ 8919349 h 8925699"/>
              <a:gd name="connsiteX6" fmla="*/ 1841087 w 16178973"/>
              <a:gd name="connsiteY6" fmla="*/ 5845313 h 8925699"/>
              <a:gd name="connsiteX7" fmla="*/ 10892459 w 16178973"/>
              <a:gd name="connsiteY7" fmla="*/ 0 h 8925699"/>
              <a:gd name="connsiteX0" fmla="*/ 10892459 w 16178973"/>
              <a:gd name="connsiteY0" fmla="*/ 0 h 8925699"/>
              <a:gd name="connsiteX1" fmla="*/ 14938927 w 16178973"/>
              <a:gd name="connsiteY1" fmla="*/ 6196910 h 8925699"/>
              <a:gd name="connsiteX2" fmla="*/ 14709361 w 16178973"/>
              <a:gd name="connsiteY2" fmla="*/ 7401063 h 8925699"/>
              <a:gd name="connsiteX3" fmla="*/ 14779211 w 16178973"/>
              <a:gd name="connsiteY3" fmla="*/ 7683638 h 8925699"/>
              <a:gd name="connsiteX4" fmla="*/ 16178973 w 16178973"/>
              <a:gd name="connsiteY4" fmla="*/ 8925699 h 8925699"/>
              <a:gd name="connsiteX5" fmla="*/ 0 w 16178973"/>
              <a:gd name="connsiteY5" fmla="*/ 8919349 h 8925699"/>
              <a:gd name="connsiteX6" fmla="*/ 1841087 w 16178973"/>
              <a:gd name="connsiteY6" fmla="*/ 5845313 h 8925699"/>
              <a:gd name="connsiteX7" fmla="*/ 10892459 w 16178973"/>
              <a:gd name="connsiteY7" fmla="*/ 0 h 8925699"/>
              <a:gd name="connsiteX0" fmla="*/ 10892459 w 16178973"/>
              <a:gd name="connsiteY0" fmla="*/ 0 h 8925699"/>
              <a:gd name="connsiteX1" fmla="*/ 14938927 w 16178973"/>
              <a:gd name="connsiteY1" fmla="*/ 6196910 h 8925699"/>
              <a:gd name="connsiteX2" fmla="*/ 14709361 w 16178973"/>
              <a:gd name="connsiteY2" fmla="*/ 7401063 h 8925699"/>
              <a:gd name="connsiteX3" fmla="*/ 14779211 w 16178973"/>
              <a:gd name="connsiteY3" fmla="*/ 7683638 h 8925699"/>
              <a:gd name="connsiteX4" fmla="*/ 16178973 w 16178973"/>
              <a:gd name="connsiteY4" fmla="*/ 8925699 h 8925699"/>
              <a:gd name="connsiteX5" fmla="*/ 0 w 16178973"/>
              <a:gd name="connsiteY5" fmla="*/ 8919349 h 8925699"/>
              <a:gd name="connsiteX6" fmla="*/ 1841087 w 16178973"/>
              <a:gd name="connsiteY6" fmla="*/ 5845313 h 8925699"/>
              <a:gd name="connsiteX7" fmla="*/ 10892459 w 16178973"/>
              <a:gd name="connsiteY7" fmla="*/ 0 h 8925699"/>
              <a:gd name="connsiteX0" fmla="*/ 10892459 w 16178973"/>
              <a:gd name="connsiteY0" fmla="*/ 0 h 8925699"/>
              <a:gd name="connsiteX1" fmla="*/ 14938927 w 16178973"/>
              <a:gd name="connsiteY1" fmla="*/ 6196910 h 8925699"/>
              <a:gd name="connsiteX2" fmla="*/ 14709361 w 16178973"/>
              <a:gd name="connsiteY2" fmla="*/ 7401063 h 8925699"/>
              <a:gd name="connsiteX3" fmla="*/ 14779211 w 16178973"/>
              <a:gd name="connsiteY3" fmla="*/ 7683638 h 8925699"/>
              <a:gd name="connsiteX4" fmla="*/ 16178973 w 16178973"/>
              <a:gd name="connsiteY4" fmla="*/ 8925699 h 8925699"/>
              <a:gd name="connsiteX5" fmla="*/ 0 w 16178973"/>
              <a:gd name="connsiteY5" fmla="*/ 8919349 h 8925699"/>
              <a:gd name="connsiteX6" fmla="*/ 1841087 w 16178973"/>
              <a:gd name="connsiteY6" fmla="*/ 5845313 h 8925699"/>
              <a:gd name="connsiteX7" fmla="*/ 6003512 w 16178973"/>
              <a:gd name="connsiteY7" fmla="*/ 3159263 h 8925699"/>
              <a:gd name="connsiteX8" fmla="*/ 10892459 w 16178973"/>
              <a:gd name="connsiteY8" fmla="*/ 0 h 8925699"/>
              <a:gd name="connsiteX0" fmla="*/ 10892459 w 16178973"/>
              <a:gd name="connsiteY0" fmla="*/ 0 h 8925699"/>
              <a:gd name="connsiteX1" fmla="*/ 14938927 w 16178973"/>
              <a:gd name="connsiteY1" fmla="*/ 6196910 h 8925699"/>
              <a:gd name="connsiteX2" fmla="*/ 14709361 w 16178973"/>
              <a:gd name="connsiteY2" fmla="*/ 7401063 h 8925699"/>
              <a:gd name="connsiteX3" fmla="*/ 14779211 w 16178973"/>
              <a:gd name="connsiteY3" fmla="*/ 7683638 h 8925699"/>
              <a:gd name="connsiteX4" fmla="*/ 16178973 w 16178973"/>
              <a:gd name="connsiteY4" fmla="*/ 8925699 h 8925699"/>
              <a:gd name="connsiteX5" fmla="*/ 0 w 16178973"/>
              <a:gd name="connsiteY5" fmla="*/ 8919349 h 8925699"/>
              <a:gd name="connsiteX6" fmla="*/ 1841087 w 16178973"/>
              <a:gd name="connsiteY6" fmla="*/ 5845313 h 8925699"/>
              <a:gd name="connsiteX7" fmla="*/ 5152612 w 16178973"/>
              <a:gd name="connsiteY7" fmla="*/ 2460763 h 8925699"/>
              <a:gd name="connsiteX8" fmla="*/ 10892459 w 16178973"/>
              <a:gd name="connsiteY8" fmla="*/ 0 h 8925699"/>
              <a:gd name="connsiteX0" fmla="*/ 10892459 w 16178973"/>
              <a:gd name="connsiteY0" fmla="*/ 0 h 8925699"/>
              <a:gd name="connsiteX1" fmla="*/ 14938927 w 16178973"/>
              <a:gd name="connsiteY1" fmla="*/ 6196910 h 8925699"/>
              <a:gd name="connsiteX2" fmla="*/ 14709361 w 16178973"/>
              <a:gd name="connsiteY2" fmla="*/ 7401063 h 8925699"/>
              <a:gd name="connsiteX3" fmla="*/ 14779211 w 16178973"/>
              <a:gd name="connsiteY3" fmla="*/ 7683638 h 8925699"/>
              <a:gd name="connsiteX4" fmla="*/ 16178973 w 16178973"/>
              <a:gd name="connsiteY4" fmla="*/ 8925699 h 8925699"/>
              <a:gd name="connsiteX5" fmla="*/ 0 w 16178973"/>
              <a:gd name="connsiteY5" fmla="*/ 8919349 h 8925699"/>
              <a:gd name="connsiteX6" fmla="*/ 1841087 w 16178973"/>
              <a:gd name="connsiteY6" fmla="*/ 5845313 h 8925699"/>
              <a:gd name="connsiteX7" fmla="*/ 5152612 w 16178973"/>
              <a:gd name="connsiteY7" fmla="*/ 2460763 h 8925699"/>
              <a:gd name="connsiteX8" fmla="*/ 10892459 w 16178973"/>
              <a:gd name="connsiteY8" fmla="*/ 0 h 8925699"/>
              <a:gd name="connsiteX0" fmla="*/ 10892459 w 16178973"/>
              <a:gd name="connsiteY0" fmla="*/ 0 h 8925699"/>
              <a:gd name="connsiteX1" fmla="*/ 14938927 w 16178973"/>
              <a:gd name="connsiteY1" fmla="*/ 6196910 h 8925699"/>
              <a:gd name="connsiteX2" fmla="*/ 14709361 w 16178973"/>
              <a:gd name="connsiteY2" fmla="*/ 7401063 h 8925699"/>
              <a:gd name="connsiteX3" fmla="*/ 14779211 w 16178973"/>
              <a:gd name="connsiteY3" fmla="*/ 7683638 h 8925699"/>
              <a:gd name="connsiteX4" fmla="*/ 16178973 w 16178973"/>
              <a:gd name="connsiteY4" fmla="*/ 8925699 h 8925699"/>
              <a:gd name="connsiteX5" fmla="*/ 0 w 16178973"/>
              <a:gd name="connsiteY5" fmla="*/ 8919349 h 8925699"/>
              <a:gd name="connsiteX6" fmla="*/ 1841087 w 16178973"/>
              <a:gd name="connsiteY6" fmla="*/ 5845313 h 8925699"/>
              <a:gd name="connsiteX7" fmla="*/ 5152612 w 16178973"/>
              <a:gd name="connsiteY7" fmla="*/ 2460763 h 8925699"/>
              <a:gd name="connsiteX8" fmla="*/ 10892459 w 16178973"/>
              <a:gd name="connsiteY8" fmla="*/ 0 h 8925699"/>
              <a:gd name="connsiteX0" fmla="*/ 10892459 w 16178973"/>
              <a:gd name="connsiteY0" fmla="*/ 0 h 8925699"/>
              <a:gd name="connsiteX1" fmla="*/ 14938927 w 16178973"/>
              <a:gd name="connsiteY1" fmla="*/ 6196910 h 8925699"/>
              <a:gd name="connsiteX2" fmla="*/ 14709361 w 16178973"/>
              <a:gd name="connsiteY2" fmla="*/ 7401063 h 8925699"/>
              <a:gd name="connsiteX3" fmla="*/ 14779211 w 16178973"/>
              <a:gd name="connsiteY3" fmla="*/ 7683638 h 8925699"/>
              <a:gd name="connsiteX4" fmla="*/ 16178973 w 16178973"/>
              <a:gd name="connsiteY4" fmla="*/ 8925699 h 8925699"/>
              <a:gd name="connsiteX5" fmla="*/ 0 w 16178973"/>
              <a:gd name="connsiteY5" fmla="*/ 8919349 h 8925699"/>
              <a:gd name="connsiteX6" fmla="*/ 1841087 w 16178973"/>
              <a:gd name="connsiteY6" fmla="*/ 5845313 h 8925699"/>
              <a:gd name="connsiteX7" fmla="*/ 5152612 w 16178973"/>
              <a:gd name="connsiteY7" fmla="*/ 2460763 h 8925699"/>
              <a:gd name="connsiteX8" fmla="*/ 9146762 w 16178973"/>
              <a:gd name="connsiteY8" fmla="*/ 749438 h 8925699"/>
              <a:gd name="connsiteX9" fmla="*/ 10892459 w 16178973"/>
              <a:gd name="connsiteY9" fmla="*/ 0 h 8925699"/>
              <a:gd name="connsiteX0" fmla="*/ 10892459 w 16178973"/>
              <a:gd name="connsiteY0" fmla="*/ 0 h 8925699"/>
              <a:gd name="connsiteX1" fmla="*/ 14938927 w 16178973"/>
              <a:gd name="connsiteY1" fmla="*/ 6196910 h 8925699"/>
              <a:gd name="connsiteX2" fmla="*/ 14709361 w 16178973"/>
              <a:gd name="connsiteY2" fmla="*/ 7401063 h 8925699"/>
              <a:gd name="connsiteX3" fmla="*/ 14779211 w 16178973"/>
              <a:gd name="connsiteY3" fmla="*/ 7683638 h 8925699"/>
              <a:gd name="connsiteX4" fmla="*/ 16178973 w 16178973"/>
              <a:gd name="connsiteY4" fmla="*/ 8925699 h 8925699"/>
              <a:gd name="connsiteX5" fmla="*/ 0 w 16178973"/>
              <a:gd name="connsiteY5" fmla="*/ 8919349 h 8925699"/>
              <a:gd name="connsiteX6" fmla="*/ 1841087 w 16178973"/>
              <a:gd name="connsiteY6" fmla="*/ 5845313 h 8925699"/>
              <a:gd name="connsiteX7" fmla="*/ 5152612 w 16178973"/>
              <a:gd name="connsiteY7" fmla="*/ 2460763 h 8925699"/>
              <a:gd name="connsiteX8" fmla="*/ 9238837 w 16178973"/>
              <a:gd name="connsiteY8" fmla="*/ 371613 h 8925699"/>
              <a:gd name="connsiteX9" fmla="*/ 10892459 w 16178973"/>
              <a:gd name="connsiteY9" fmla="*/ 0 h 8925699"/>
              <a:gd name="connsiteX0" fmla="*/ 10892459 w 16178973"/>
              <a:gd name="connsiteY0" fmla="*/ 0 h 8925699"/>
              <a:gd name="connsiteX1" fmla="*/ 14938927 w 16178973"/>
              <a:gd name="connsiteY1" fmla="*/ 6196910 h 8925699"/>
              <a:gd name="connsiteX2" fmla="*/ 14709361 w 16178973"/>
              <a:gd name="connsiteY2" fmla="*/ 7401063 h 8925699"/>
              <a:gd name="connsiteX3" fmla="*/ 14779211 w 16178973"/>
              <a:gd name="connsiteY3" fmla="*/ 7683638 h 8925699"/>
              <a:gd name="connsiteX4" fmla="*/ 16178973 w 16178973"/>
              <a:gd name="connsiteY4" fmla="*/ 8925699 h 8925699"/>
              <a:gd name="connsiteX5" fmla="*/ 0 w 16178973"/>
              <a:gd name="connsiteY5" fmla="*/ 8919349 h 8925699"/>
              <a:gd name="connsiteX6" fmla="*/ 1841087 w 16178973"/>
              <a:gd name="connsiteY6" fmla="*/ 5845313 h 8925699"/>
              <a:gd name="connsiteX7" fmla="*/ 5152612 w 16178973"/>
              <a:gd name="connsiteY7" fmla="*/ 2460763 h 8925699"/>
              <a:gd name="connsiteX8" fmla="*/ 8086312 w 16178973"/>
              <a:gd name="connsiteY8" fmla="*/ 958988 h 8925699"/>
              <a:gd name="connsiteX9" fmla="*/ 9238837 w 16178973"/>
              <a:gd name="connsiteY9" fmla="*/ 371613 h 8925699"/>
              <a:gd name="connsiteX10" fmla="*/ 10892459 w 16178973"/>
              <a:gd name="connsiteY10" fmla="*/ 0 h 8925699"/>
              <a:gd name="connsiteX0" fmla="*/ 10892459 w 16178973"/>
              <a:gd name="connsiteY0" fmla="*/ 0 h 8925699"/>
              <a:gd name="connsiteX1" fmla="*/ 14938927 w 16178973"/>
              <a:gd name="connsiteY1" fmla="*/ 6196910 h 8925699"/>
              <a:gd name="connsiteX2" fmla="*/ 14709361 w 16178973"/>
              <a:gd name="connsiteY2" fmla="*/ 7401063 h 8925699"/>
              <a:gd name="connsiteX3" fmla="*/ 14779211 w 16178973"/>
              <a:gd name="connsiteY3" fmla="*/ 7683638 h 8925699"/>
              <a:gd name="connsiteX4" fmla="*/ 16178973 w 16178973"/>
              <a:gd name="connsiteY4" fmla="*/ 8925699 h 8925699"/>
              <a:gd name="connsiteX5" fmla="*/ 0 w 16178973"/>
              <a:gd name="connsiteY5" fmla="*/ 8919349 h 8925699"/>
              <a:gd name="connsiteX6" fmla="*/ 1841087 w 16178973"/>
              <a:gd name="connsiteY6" fmla="*/ 5845313 h 8925699"/>
              <a:gd name="connsiteX7" fmla="*/ 5152612 w 16178973"/>
              <a:gd name="connsiteY7" fmla="*/ 2460763 h 8925699"/>
              <a:gd name="connsiteX8" fmla="*/ 7378287 w 16178973"/>
              <a:gd name="connsiteY8" fmla="*/ 1105038 h 8925699"/>
              <a:gd name="connsiteX9" fmla="*/ 9238837 w 16178973"/>
              <a:gd name="connsiteY9" fmla="*/ 371613 h 8925699"/>
              <a:gd name="connsiteX10" fmla="*/ 10892459 w 16178973"/>
              <a:gd name="connsiteY10" fmla="*/ 0 h 8925699"/>
              <a:gd name="connsiteX0" fmla="*/ 10901984 w 16178973"/>
              <a:gd name="connsiteY0" fmla="*/ 0 h 8912999"/>
              <a:gd name="connsiteX1" fmla="*/ 14938927 w 16178973"/>
              <a:gd name="connsiteY1" fmla="*/ 6184210 h 8912999"/>
              <a:gd name="connsiteX2" fmla="*/ 14709361 w 16178973"/>
              <a:gd name="connsiteY2" fmla="*/ 7388363 h 8912999"/>
              <a:gd name="connsiteX3" fmla="*/ 14779211 w 16178973"/>
              <a:gd name="connsiteY3" fmla="*/ 7670938 h 8912999"/>
              <a:gd name="connsiteX4" fmla="*/ 16178973 w 16178973"/>
              <a:gd name="connsiteY4" fmla="*/ 8912999 h 8912999"/>
              <a:gd name="connsiteX5" fmla="*/ 0 w 16178973"/>
              <a:gd name="connsiteY5" fmla="*/ 8906649 h 8912999"/>
              <a:gd name="connsiteX6" fmla="*/ 1841087 w 16178973"/>
              <a:gd name="connsiteY6" fmla="*/ 5832613 h 8912999"/>
              <a:gd name="connsiteX7" fmla="*/ 5152612 w 16178973"/>
              <a:gd name="connsiteY7" fmla="*/ 2448063 h 8912999"/>
              <a:gd name="connsiteX8" fmla="*/ 7378287 w 16178973"/>
              <a:gd name="connsiteY8" fmla="*/ 1092338 h 8912999"/>
              <a:gd name="connsiteX9" fmla="*/ 9238837 w 16178973"/>
              <a:gd name="connsiteY9" fmla="*/ 358913 h 8912999"/>
              <a:gd name="connsiteX10" fmla="*/ 10901984 w 16178973"/>
              <a:gd name="connsiteY10" fmla="*/ 0 h 8912999"/>
              <a:gd name="connsiteX0" fmla="*/ 10901984 w 16178973"/>
              <a:gd name="connsiteY0" fmla="*/ 0 h 8912999"/>
              <a:gd name="connsiteX1" fmla="*/ 14938927 w 16178973"/>
              <a:gd name="connsiteY1" fmla="*/ 6184210 h 8912999"/>
              <a:gd name="connsiteX2" fmla="*/ 14709361 w 16178973"/>
              <a:gd name="connsiteY2" fmla="*/ 7388363 h 8912999"/>
              <a:gd name="connsiteX3" fmla="*/ 14779211 w 16178973"/>
              <a:gd name="connsiteY3" fmla="*/ 7670938 h 8912999"/>
              <a:gd name="connsiteX4" fmla="*/ 16178973 w 16178973"/>
              <a:gd name="connsiteY4" fmla="*/ 8912999 h 8912999"/>
              <a:gd name="connsiteX5" fmla="*/ 0 w 16178973"/>
              <a:gd name="connsiteY5" fmla="*/ 8906649 h 8912999"/>
              <a:gd name="connsiteX6" fmla="*/ 1841087 w 16178973"/>
              <a:gd name="connsiteY6" fmla="*/ 5832613 h 8912999"/>
              <a:gd name="connsiteX7" fmla="*/ 5152612 w 16178973"/>
              <a:gd name="connsiteY7" fmla="*/ 2448063 h 8912999"/>
              <a:gd name="connsiteX8" fmla="*/ 7378287 w 16178973"/>
              <a:gd name="connsiteY8" fmla="*/ 1092338 h 8912999"/>
              <a:gd name="connsiteX9" fmla="*/ 9238837 w 16178973"/>
              <a:gd name="connsiteY9" fmla="*/ 358913 h 8912999"/>
              <a:gd name="connsiteX10" fmla="*/ 10901984 w 16178973"/>
              <a:gd name="connsiteY10" fmla="*/ 0 h 8912999"/>
              <a:gd name="connsiteX0" fmla="*/ 10901984 w 16178973"/>
              <a:gd name="connsiteY0" fmla="*/ 0 h 8912999"/>
              <a:gd name="connsiteX1" fmla="*/ 14938927 w 16178973"/>
              <a:gd name="connsiteY1" fmla="*/ 6184210 h 8912999"/>
              <a:gd name="connsiteX2" fmla="*/ 14709361 w 16178973"/>
              <a:gd name="connsiteY2" fmla="*/ 7388363 h 8912999"/>
              <a:gd name="connsiteX3" fmla="*/ 14779211 w 16178973"/>
              <a:gd name="connsiteY3" fmla="*/ 7670938 h 8912999"/>
              <a:gd name="connsiteX4" fmla="*/ 16178973 w 16178973"/>
              <a:gd name="connsiteY4" fmla="*/ 8912999 h 8912999"/>
              <a:gd name="connsiteX5" fmla="*/ 0 w 16178973"/>
              <a:gd name="connsiteY5" fmla="*/ 8906649 h 8912999"/>
              <a:gd name="connsiteX6" fmla="*/ 1841087 w 16178973"/>
              <a:gd name="connsiteY6" fmla="*/ 5832613 h 8912999"/>
              <a:gd name="connsiteX7" fmla="*/ 5152612 w 16178973"/>
              <a:gd name="connsiteY7" fmla="*/ 2448063 h 8912999"/>
              <a:gd name="connsiteX8" fmla="*/ 7378287 w 16178973"/>
              <a:gd name="connsiteY8" fmla="*/ 1092338 h 8912999"/>
              <a:gd name="connsiteX9" fmla="*/ 9238837 w 16178973"/>
              <a:gd name="connsiteY9" fmla="*/ 358913 h 8912999"/>
              <a:gd name="connsiteX10" fmla="*/ 10901984 w 16178973"/>
              <a:gd name="connsiteY10" fmla="*/ 0 h 8912999"/>
              <a:gd name="connsiteX0" fmla="*/ 10901984 w 16178973"/>
              <a:gd name="connsiteY0" fmla="*/ 0 h 8912999"/>
              <a:gd name="connsiteX1" fmla="*/ 14938927 w 16178973"/>
              <a:gd name="connsiteY1" fmla="*/ 6184210 h 8912999"/>
              <a:gd name="connsiteX2" fmla="*/ 14709361 w 16178973"/>
              <a:gd name="connsiteY2" fmla="*/ 7388363 h 8912999"/>
              <a:gd name="connsiteX3" fmla="*/ 14779211 w 16178973"/>
              <a:gd name="connsiteY3" fmla="*/ 7670938 h 8912999"/>
              <a:gd name="connsiteX4" fmla="*/ 16178973 w 16178973"/>
              <a:gd name="connsiteY4" fmla="*/ 8912999 h 8912999"/>
              <a:gd name="connsiteX5" fmla="*/ 0 w 16178973"/>
              <a:gd name="connsiteY5" fmla="*/ 8906649 h 8912999"/>
              <a:gd name="connsiteX6" fmla="*/ 1841087 w 16178973"/>
              <a:gd name="connsiteY6" fmla="*/ 5832613 h 8912999"/>
              <a:gd name="connsiteX7" fmla="*/ 5152612 w 16178973"/>
              <a:gd name="connsiteY7" fmla="*/ 2448063 h 8912999"/>
              <a:gd name="connsiteX8" fmla="*/ 7378287 w 16178973"/>
              <a:gd name="connsiteY8" fmla="*/ 1092338 h 8912999"/>
              <a:gd name="connsiteX9" fmla="*/ 9238837 w 16178973"/>
              <a:gd name="connsiteY9" fmla="*/ 358913 h 8912999"/>
              <a:gd name="connsiteX10" fmla="*/ 10901984 w 16178973"/>
              <a:gd name="connsiteY10" fmla="*/ 0 h 8912999"/>
              <a:gd name="connsiteX0" fmla="*/ 10901984 w 16178973"/>
              <a:gd name="connsiteY0" fmla="*/ 0 h 8912999"/>
              <a:gd name="connsiteX1" fmla="*/ 14938927 w 16178973"/>
              <a:gd name="connsiteY1" fmla="*/ 6184210 h 8912999"/>
              <a:gd name="connsiteX2" fmla="*/ 14709361 w 16178973"/>
              <a:gd name="connsiteY2" fmla="*/ 7388363 h 8912999"/>
              <a:gd name="connsiteX3" fmla="*/ 14779211 w 16178973"/>
              <a:gd name="connsiteY3" fmla="*/ 7670938 h 8912999"/>
              <a:gd name="connsiteX4" fmla="*/ 16178973 w 16178973"/>
              <a:gd name="connsiteY4" fmla="*/ 8912999 h 8912999"/>
              <a:gd name="connsiteX5" fmla="*/ 0 w 16178973"/>
              <a:gd name="connsiteY5" fmla="*/ 8906649 h 8912999"/>
              <a:gd name="connsiteX6" fmla="*/ 1841087 w 16178973"/>
              <a:gd name="connsiteY6" fmla="*/ 5832613 h 8912999"/>
              <a:gd name="connsiteX7" fmla="*/ 5152612 w 16178973"/>
              <a:gd name="connsiteY7" fmla="*/ 2448063 h 8912999"/>
              <a:gd name="connsiteX8" fmla="*/ 7378287 w 16178973"/>
              <a:gd name="connsiteY8" fmla="*/ 1092338 h 8912999"/>
              <a:gd name="connsiteX9" fmla="*/ 9238837 w 16178973"/>
              <a:gd name="connsiteY9" fmla="*/ 358913 h 8912999"/>
              <a:gd name="connsiteX10" fmla="*/ 10901984 w 16178973"/>
              <a:gd name="connsiteY10" fmla="*/ 0 h 8912999"/>
              <a:gd name="connsiteX0" fmla="*/ 10901984 w 16178973"/>
              <a:gd name="connsiteY0" fmla="*/ 0 h 8912999"/>
              <a:gd name="connsiteX1" fmla="*/ 14938927 w 16178973"/>
              <a:gd name="connsiteY1" fmla="*/ 6184210 h 8912999"/>
              <a:gd name="connsiteX2" fmla="*/ 14709361 w 16178973"/>
              <a:gd name="connsiteY2" fmla="*/ 7388363 h 8912999"/>
              <a:gd name="connsiteX3" fmla="*/ 14779211 w 16178973"/>
              <a:gd name="connsiteY3" fmla="*/ 7670938 h 8912999"/>
              <a:gd name="connsiteX4" fmla="*/ 16178973 w 16178973"/>
              <a:gd name="connsiteY4" fmla="*/ 8912999 h 8912999"/>
              <a:gd name="connsiteX5" fmla="*/ 0 w 16178973"/>
              <a:gd name="connsiteY5" fmla="*/ 8906649 h 8912999"/>
              <a:gd name="connsiteX6" fmla="*/ 1841087 w 16178973"/>
              <a:gd name="connsiteY6" fmla="*/ 5832613 h 8912999"/>
              <a:gd name="connsiteX7" fmla="*/ 5152612 w 16178973"/>
              <a:gd name="connsiteY7" fmla="*/ 2448063 h 8912999"/>
              <a:gd name="connsiteX8" fmla="*/ 7378287 w 16178973"/>
              <a:gd name="connsiteY8" fmla="*/ 1092338 h 8912999"/>
              <a:gd name="connsiteX9" fmla="*/ 9238837 w 16178973"/>
              <a:gd name="connsiteY9" fmla="*/ 358913 h 8912999"/>
              <a:gd name="connsiteX10" fmla="*/ 10901984 w 16178973"/>
              <a:gd name="connsiteY10" fmla="*/ 0 h 8912999"/>
              <a:gd name="connsiteX0" fmla="*/ 10901984 w 16178973"/>
              <a:gd name="connsiteY0" fmla="*/ 0 h 8912999"/>
              <a:gd name="connsiteX1" fmla="*/ 14938927 w 16178973"/>
              <a:gd name="connsiteY1" fmla="*/ 6184210 h 8912999"/>
              <a:gd name="connsiteX2" fmla="*/ 14709361 w 16178973"/>
              <a:gd name="connsiteY2" fmla="*/ 7388363 h 8912999"/>
              <a:gd name="connsiteX3" fmla="*/ 14779211 w 16178973"/>
              <a:gd name="connsiteY3" fmla="*/ 7670938 h 8912999"/>
              <a:gd name="connsiteX4" fmla="*/ 16178973 w 16178973"/>
              <a:gd name="connsiteY4" fmla="*/ 8912999 h 8912999"/>
              <a:gd name="connsiteX5" fmla="*/ 0 w 16178973"/>
              <a:gd name="connsiteY5" fmla="*/ 8906649 h 8912999"/>
              <a:gd name="connsiteX6" fmla="*/ 1841087 w 16178973"/>
              <a:gd name="connsiteY6" fmla="*/ 5832613 h 8912999"/>
              <a:gd name="connsiteX7" fmla="*/ 5152612 w 16178973"/>
              <a:gd name="connsiteY7" fmla="*/ 2448063 h 8912999"/>
              <a:gd name="connsiteX8" fmla="*/ 7378287 w 16178973"/>
              <a:gd name="connsiteY8" fmla="*/ 1092338 h 8912999"/>
              <a:gd name="connsiteX9" fmla="*/ 9238837 w 16178973"/>
              <a:gd name="connsiteY9" fmla="*/ 358913 h 8912999"/>
              <a:gd name="connsiteX10" fmla="*/ 10901984 w 16178973"/>
              <a:gd name="connsiteY10" fmla="*/ 0 h 8912999"/>
              <a:gd name="connsiteX0" fmla="*/ 10901984 w 16178973"/>
              <a:gd name="connsiteY0" fmla="*/ 0 h 8912999"/>
              <a:gd name="connsiteX1" fmla="*/ 14938927 w 16178973"/>
              <a:gd name="connsiteY1" fmla="*/ 6184210 h 8912999"/>
              <a:gd name="connsiteX2" fmla="*/ 14709361 w 16178973"/>
              <a:gd name="connsiteY2" fmla="*/ 7388363 h 8912999"/>
              <a:gd name="connsiteX3" fmla="*/ 14779211 w 16178973"/>
              <a:gd name="connsiteY3" fmla="*/ 7670938 h 8912999"/>
              <a:gd name="connsiteX4" fmla="*/ 16178973 w 16178973"/>
              <a:gd name="connsiteY4" fmla="*/ 8912999 h 8912999"/>
              <a:gd name="connsiteX5" fmla="*/ 0 w 16178973"/>
              <a:gd name="connsiteY5" fmla="*/ 8906649 h 8912999"/>
              <a:gd name="connsiteX6" fmla="*/ 1841087 w 16178973"/>
              <a:gd name="connsiteY6" fmla="*/ 5832613 h 8912999"/>
              <a:gd name="connsiteX7" fmla="*/ 5152612 w 16178973"/>
              <a:gd name="connsiteY7" fmla="*/ 2448063 h 8912999"/>
              <a:gd name="connsiteX8" fmla="*/ 7378287 w 16178973"/>
              <a:gd name="connsiteY8" fmla="*/ 1092338 h 8912999"/>
              <a:gd name="connsiteX9" fmla="*/ 9238837 w 16178973"/>
              <a:gd name="connsiteY9" fmla="*/ 358913 h 8912999"/>
              <a:gd name="connsiteX10" fmla="*/ 10901984 w 16178973"/>
              <a:gd name="connsiteY10" fmla="*/ 0 h 8912999"/>
              <a:gd name="connsiteX0" fmla="*/ 10901984 w 16178973"/>
              <a:gd name="connsiteY0" fmla="*/ 0 h 8912999"/>
              <a:gd name="connsiteX1" fmla="*/ 14938927 w 16178973"/>
              <a:gd name="connsiteY1" fmla="*/ 6184210 h 8912999"/>
              <a:gd name="connsiteX2" fmla="*/ 14709361 w 16178973"/>
              <a:gd name="connsiteY2" fmla="*/ 7388363 h 8912999"/>
              <a:gd name="connsiteX3" fmla="*/ 14779211 w 16178973"/>
              <a:gd name="connsiteY3" fmla="*/ 7670938 h 8912999"/>
              <a:gd name="connsiteX4" fmla="*/ 16178973 w 16178973"/>
              <a:gd name="connsiteY4" fmla="*/ 8912999 h 8912999"/>
              <a:gd name="connsiteX5" fmla="*/ 0 w 16178973"/>
              <a:gd name="connsiteY5" fmla="*/ 8906649 h 8912999"/>
              <a:gd name="connsiteX6" fmla="*/ 1841087 w 16178973"/>
              <a:gd name="connsiteY6" fmla="*/ 5832613 h 8912999"/>
              <a:gd name="connsiteX7" fmla="*/ 5152612 w 16178973"/>
              <a:gd name="connsiteY7" fmla="*/ 2448063 h 8912999"/>
              <a:gd name="connsiteX8" fmla="*/ 7378287 w 16178973"/>
              <a:gd name="connsiteY8" fmla="*/ 1092338 h 8912999"/>
              <a:gd name="connsiteX9" fmla="*/ 9238837 w 16178973"/>
              <a:gd name="connsiteY9" fmla="*/ 358913 h 8912999"/>
              <a:gd name="connsiteX10" fmla="*/ 10901984 w 16178973"/>
              <a:gd name="connsiteY10" fmla="*/ 0 h 8912999"/>
              <a:gd name="connsiteX0" fmla="*/ 10901984 w 16178973"/>
              <a:gd name="connsiteY0" fmla="*/ 0 h 8912999"/>
              <a:gd name="connsiteX1" fmla="*/ 14643150 w 16178973"/>
              <a:gd name="connsiteY1" fmla="*/ 5732762 h 8912999"/>
              <a:gd name="connsiteX2" fmla="*/ 14709361 w 16178973"/>
              <a:gd name="connsiteY2" fmla="*/ 7388363 h 8912999"/>
              <a:gd name="connsiteX3" fmla="*/ 14779211 w 16178973"/>
              <a:gd name="connsiteY3" fmla="*/ 7670938 h 8912999"/>
              <a:gd name="connsiteX4" fmla="*/ 16178973 w 16178973"/>
              <a:gd name="connsiteY4" fmla="*/ 8912999 h 8912999"/>
              <a:gd name="connsiteX5" fmla="*/ 0 w 16178973"/>
              <a:gd name="connsiteY5" fmla="*/ 8906649 h 8912999"/>
              <a:gd name="connsiteX6" fmla="*/ 1841087 w 16178973"/>
              <a:gd name="connsiteY6" fmla="*/ 5832613 h 8912999"/>
              <a:gd name="connsiteX7" fmla="*/ 5152612 w 16178973"/>
              <a:gd name="connsiteY7" fmla="*/ 2448063 h 8912999"/>
              <a:gd name="connsiteX8" fmla="*/ 7378287 w 16178973"/>
              <a:gd name="connsiteY8" fmla="*/ 1092338 h 8912999"/>
              <a:gd name="connsiteX9" fmla="*/ 9238837 w 16178973"/>
              <a:gd name="connsiteY9" fmla="*/ 358913 h 8912999"/>
              <a:gd name="connsiteX10" fmla="*/ 10901984 w 16178973"/>
              <a:gd name="connsiteY10" fmla="*/ 0 h 8912999"/>
              <a:gd name="connsiteX0" fmla="*/ 10901984 w 16178973"/>
              <a:gd name="connsiteY0" fmla="*/ 0 h 8912999"/>
              <a:gd name="connsiteX1" fmla="*/ 14643150 w 16178973"/>
              <a:gd name="connsiteY1" fmla="*/ 5732762 h 8912999"/>
              <a:gd name="connsiteX2" fmla="*/ 14425260 w 16178973"/>
              <a:gd name="connsiteY2" fmla="*/ 6789027 h 8912999"/>
              <a:gd name="connsiteX3" fmla="*/ 14779211 w 16178973"/>
              <a:gd name="connsiteY3" fmla="*/ 7670938 h 8912999"/>
              <a:gd name="connsiteX4" fmla="*/ 16178973 w 16178973"/>
              <a:gd name="connsiteY4" fmla="*/ 8912999 h 8912999"/>
              <a:gd name="connsiteX5" fmla="*/ 0 w 16178973"/>
              <a:gd name="connsiteY5" fmla="*/ 8906649 h 8912999"/>
              <a:gd name="connsiteX6" fmla="*/ 1841087 w 16178973"/>
              <a:gd name="connsiteY6" fmla="*/ 5832613 h 8912999"/>
              <a:gd name="connsiteX7" fmla="*/ 5152612 w 16178973"/>
              <a:gd name="connsiteY7" fmla="*/ 2448063 h 8912999"/>
              <a:gd name="connsiteX8" fmla="*/ 7378287 w 16178973"/>
              <a:gd name="connsiteY8" fmla="*/ 1092338 h 8912999"/>
              <a:gd name="connsiteX9" fmla="*/ 9238837 w 16178973"/>
              <a:gd name="connsiteY9" fmla="*/ 358913 h 8912999"/>
              <a:gd name="connsiteX10" fmla="*/ 10901984 w 16178973"/>
              <a:gd name="connsiteY10" fmla="*/ 0 h 8912999"/>
              <a:gd name="connsiteX0" fmla="*/ 10901984 w 16178973"/>
              <a:gd name="connsiteY0" fmla="*/ 0 h 8912999"/>
              <a:gd name="connsiteX1" fmla="*/ 14631475 w 16178973"/>
              <a:gd name="connsiteY1" fmla="*/ 5721087 h 8912999"/>
              <a:gd name="connsiteX2" fmla="*/ 14425260 w 16178973"/>
              <a:gd name="connsiteY2" fmla="*/ 6789027 h 8912999"/>
              <a:gd name="connsiteX3" fmla="*/ 14779211 w 16178973"/>
              <a:gd name="connsiteY3" fmla="*/ 7670938 h 8912999"/>
              <a:gd name="connsiteX4" fmla="*/ 16178973 w 16178973"/>
              <a:gd name="connsiteY4" fmla="*/ 8912999 h 8912999"/>
              <a:gd name="connsiteX5" fmla="*/ 0 w 16178973"/>
              <a:gd name="connsiteY5" fmla="*/ 8906649 h 8912999"/>
              <a:gd name="connsiteX6" fmla="*/ 1841087 w 16178973"/>
              <a:gd name="connsiteY6" fmla="*/ 5832613 h 8912999"/>
              <a:gd name="connsiteX7" fmla="*/ 5152612 w 16178973"/>
              <a:gd name="connsiteY7" fmla="*/ 2448063 h 8912999"/>
              <a:gd name="connsiteX8" fmla="*/ 7378287 w 16178973"/>
              <a:gd name="connsiteY8" fmla="*/ 1092338 h 8912999"/>
              <a:gd name="connsiteX9" fmla="*/ 9238837 w 16178973"/>
              <a:gd name="connsiteY9" fmla="*/ 358913 h 8912999"/>
              <a:gd name="connsiteX10" fmla="*/ 10901984 w 16178973"/>
              <a:gd name="connsiteY10" fmla="*/ 0 h 8912999"/>
              <a:gd name="connsiteX0" fmla="*/ 10901984 w 16178973"/>
              <a:gd name="connsiteY0" fmla="*/ 0 h 8912999"/>
              <a:gd name="connsiteX1" fmla="*/ 14631475 w 16178973"/>
              <a:gd name="connsiteY1" fmla="*/ 5713304 h 8912999"/>
              <a:gd name="connsiteX2" fmla="*/ 14425260 w 16178973"/>
              <a:gd name="connsiteY2" fmla="*/ 6789027 h 8912999"/>
              <a:gd name="connsiteX3" fmla="*/ 14779211 w 16178973"/>
              <a:gd name="connsiteY3" fmla="*/ 7670938 h 8912999"/>
              <a:gd name="connsiteX4" fmla="*/ 16178973 w 16178973"/>
              <a:gd name="connsiteY4" fmla="*/ 8912999 h 8912999"/>
              <a:gd name="connsiteX5" fmla="*/ 0 w 16178973"/>
              <a:gd name="connsiteY5" fmla="*/ 8906649 h 8912999"/>
              <a:gd name="connsiteX6" fmla="*/ 1841087 w 16178973"/>
              <a:gd name="connsiteY6" fmla="*/ 5832613 h 8912999"/>
              <a:gd name="connsiteX7" fmla="*/ 5152612 w 16178973"/>
              <a:gd name="connsiteY7" fmla="*/ 2448063 h 8912999"/>
              <a:gd name="connsiteX8" fmla="*/ 7378287 w 16178973"/>
              <a:gd name="connsiteY8" fmla="*/ 1092338 h 8912999"/>
              <a:gd name="connsiteX9" fmla="*/ 9238837 w 16178973"/>
              <a:gd name="connsiteY9" fmla="*/ 358913 h 8912999"/>
              <a:gd name="connsiteX10" fmla="*/ 10901984 w 16178973"/>
              <a:gd name="connsiteY10" fmla="*/ 0 h 8912999"/>
              <a:gd name="connsiteX0" fmla="*/ 10901984 w 16178973"/>
              <a:gd name="connsiteY0" fmla="*/ 0 h 8912999"/>
              <a:gd name="connsiteX1" fmla="*/ 14631475 w 16178973"/>
              <a:gd name="connsiteY1" fmla="*/ 5713304 h 8912999"/>
              <a:gd name="connsiteX2" fmla="*/ 14425260 w 16178973"/>
              <a:gd name="connsiteY2" fmla="*/ 6789027 h 8912999"/>
              <a:gd name="connsiteX3" fmla="*/ 14499002 w 16178973"/>
              <a:gd name="connsiteY3" fmla="*/ 7106627 h 8912999"/>
              <a:gd name="connsiteX4" fmla="*/ 16178973 w 16178973"/>
              <a:gd name="connsiteY4" fmla="*/ 8912999 h 8912999"/>
              <a:gd name="connsiteX5" fmla="*/ 0 w 16178973"/>
              <a:gd name="connsiteY5" fmla="*/ 8906649 h 8912999"/>
              <a:gd name="connsiteX6" fmla="*/ 1841087 w 16178973"/>
              <a:gd name="connsiteY6" fmla="*/ 5832613 h 8912999"/>
              <a:gd name="connsiteX7" fmla="*/ 5152612 w 16178973"/>
              <a:gd name="connsiteY7" fmla="*/ 2448063 h 8912999"/>
              <a:gd name="connsiteX8" fmla="*/ 7378287 w 16178973"/>
              <a:gd name="connsiteY8" fmla="*/ 1092338 h 8912999"/>
              <a:gd name="connsiteX9" fmla="*/ 9238837 w 16178973"/>
              <a:gd name="connsiteY9" fmla="*/ 358913 h 8912999"/>
              <a:gd name="connsiteX10" fmla="*/ 10901984 w 16178973"/>
              <a:gd name="connsiteY10" fmla="*/ 0 h 8912999"/>
              <a:gd name="connsiteX0" fmla="*/ 10901984 w 16178973"/>
              <a:gd name="connsiteY0" fmla="*/ 0 h 8912999"/>
              <a:gd name="connsiteX1" fmla="*/ 14631475 w 16178973"/>
              <a:gd name="connsiteY1" fmla="*/ 5713304 h 8912999"/>
              <a:gd name="connsiteX2" fmla="*/ 14417476 w 16178973"/>
              <a:gd name="connsiteY2" fmla="*/ 6831837 h 8912999"/>
              <a:gd name="connsiteX3" fmla="*/ 14499002 w 16178973"/>
              <a:gd name="connsiteY3" fmla="*/ 7106627 h 8912999"/>
              <a:gd name="connsiteX4" fmla="*/ 16178973 w 16178973"/>
              <a:gd name="connsiteY4" fmla="*/ 8912999 h 8912999"/>
              <a:gd name="connsiteX5" fmla="*/ 0 w 16178973"/>
              <a:gd name="connsiteY5" fmla="*/ 8906649 h 8912999"/>
              <a:gd name="connsiteX6" fmla="*/ 1841087 w 16178973"/>
              <a:gd name="connsiteY6" fmla="*/ 5832613 h 8912999"/>
              <a:gd name="connsiteX7" fmla="*/ 5152612 w 16178973"/>
              <a:gd name="connsiteY7" fmla="*/ 2448063 h 8912999"/>
              <a:gd name="connsiteX8" fmla="*/ 7378287 w 16178973"/>
              <a:gd name="connsiteY8" fmla="*/ 1092338 h 8912999"/>
              <a:gd name="connsiteX9" fmla="*/ 9238837 w 16178973"/>
              <a:gd name="connsiteY9" fmla="*/ 358913 h 8912999"/>
              <a:gd name="connsiteX10" fmla="*/ 10901984 w 16178973"/>
              <a:gd name="connsiteY10" fmla="*/ 0 h 8912999"/>
              <a:gd name="connsiteX0" fmla="*/ 10901984 w 16178973"/>
              <a:gd name="connsiteY0" fmla="*/ 0 h 8912999"/>
              <a:gd name="connsiteX1" fmla="*/ 14631475 w 16178973"/>
              <a:gd name="connsiteY1" fmla="*/ 5713304 h 8912999"/>
              <a:gd name="connsiteX2" fmla="*/ 14417476 w 16178973"/>
              <a:gd name="connsiteY2" fmla="*/ 6831837 h 8912999"/>
              <a:gd name="connsiteX3" fmla="*/ 14514569 w 16178973"/>
              <a:gd name="connsiteY3" fmla="*/ 7122194 h 8912999"/>
              <a:gd name="connsiteX4" fmla="*/ 16178973 w 16178973"/>
              <a:gd name="connsiteY4" fmla="*/ 8912999 h 8912999"/>
              <a:gd name="connsiteX5" fmla="*/ 0 w 16178973"/>
              <a:gd name="connsiteY5" fmla="*/ 8906649 h 8912999"/>
              <a:gd name="connsiteX6" fmla="*/ 1841087 w 16178973"/>
              <a:gd name="connsiteY6" fmla="*/ 5832613 h 8912999"/>
              <a:gd name="connsiteX7" fmla="*/ 5152612 w 16178973"/>
              <a:gd name="connsiteY7" fmla="*/ 2448063 h 8912999"/>
              <a:gd name="connsiteX8" fmla="*/ 7378287 w 16178973"/>
              <a:gd name="connsiteY8" fmla="*/ 1092338 h 8912999"/>
              <a:gd name="connsiteX9" fmla="*/ 9238837 w 16178973"/>
              <a:gd name="connsiteY9" fmla="*/ 358913 h 8912999"/>
              <a:gd name="connsiteX10" fmla="*/ 10901984 w 16178973"/>
              <a:gd name="connsiteY10" fmla="*/ 0 h 8912999"/>
              <a:gd name="connsiteX0" fmla="*/ 10901984 w 16529235"/>
              <a:gd name="connsiteY0" fmla="*/ 0 h 8912999"/>
              <a:gd name="connsiteX1" fmla="*/ 14631475 w 16529235"/>
              <a:gd name="connsiteY1" fmla="*/ 5713304 h 8912999"/>
              <a:gd name="connsiteX2" fmla="*/ 14417476 w 16529235"/>
              <a:gd name="connsiteY2" fmla="*/ 6831837 h 8912999"/>
              <a:gd name="connsiteX3" fmla="*/ 14514569 w 16529235"/>
              <a:gd name="connsiteY3" fmla="*/ 7122194 h 8912999"/>
              <a:gd name="connsiteX4" fmla="*/ 16529235 w 16529235"/>
              <a:gd name="connsiteY4" fmla="*/ 8912999 h 8912999"/>
              <a:gd name="connsiteX5" fmla="*/ 0 w 16529235"/>
              <a:gd name="connsiteY5" fmla="*/ 8906649 h 8912999"/>
              <a:gd name="connsiteX6" fmla="*/ 1841087 w 16529235"/>
              <a:gd name="connsiteY6" fmla="*/ 5832613 h 8912999"/>
              <a:gd name="connsiteX7" fmla="*/ 5152612 w 16529235"/>
              <a:gd name="connsiteY7" fmla="*/ 2448063 h 8912999"/>
              <a:gd name="connsiteX8" fmla="*/ 7378287 w 16529235"/>
              <a:gd name="connsiteY8" fmla="*/ 1092338 h 8912999"/>
              <a:gd name="connsiteX9" fmla="*/ 9238837 w 16529235"/>
              <a:gd name="connsiteY9" fmla="*/ 358913 h 8912999"/>
              <a:gd name="connsiteX10" fmla="*/ 10901984 w 16529235"/>
              <a:gd name="connsiteY10" fmla="*/ 0 h 8912999"/>
              <a:gd name="connsiteX0" fmla="*/ 10380483 w 16007734"/>
              <a:gd name="connsiteY0" fmla="*/ 0 h 8912999"/>
              <a:gd name="connsiteX1" fmla="*/ 14109974 w 16007734"/>
              <a:gd name="connsiteY1" fmla="*/ 5713304 h 8912999"/>
              <a:gd name="connsiteX2" fmla="*/ 13895975 w 16007734"/>
              <a:gd name="connsiteY2" fmla="*/ 6831837 h 8912999"/>
              <a:gd name="connsiteX3" fmla="*/ 13993068 w 16007734"/>
              <a:gd name="connsiteY3" fmla="*/ 7122194 h 8912999"/>
              <a:gd name="connsiteX4" fmla="*/ 16007734 w 16007734"/>
              <a:gd name="connsiteY4" fmla="*/ 8912999 h 8912999"/>
              <a:gd name="connsiteX5" fmla="*/ 0 w 16007734"/>
              <a:gd name="connsiteY5" fmla="*/ 8910541 h 8912999"/>
              <a:gd name="connsiteX6" fmla="*/ 1319586 w 16007734"/>
              <a:gd name="connsiteY6" fmla="*/ 5832613 h 8912999"/>
              <a:gd name="connsiteX7" fmla="*/ 4631111 w 16007734"/>
              <a:gd name="connsiteY7" fmla="*/ 2448063 h 8912999"/>
              <a:gd name="connsiteX8" fmla="*/ 6856786 w 16007734"/>
              <a:gd name="connsiteY8" fmla="*/ 1092338 h 8912999"/>
              <a:gd name="connsiteX9" fmla="*/ 8717336 w 16007734"/>
              <a:gd name="connsiteY9" fmla="*/ 358913 h 8912999"/>
              <a:gd name="connsiteX10" fmla="*/ 10380483 w 16007734"/>
              <a:gd name="connsiteY10" fmla="*/ 0 h 8912999"/>
              <a:gd name="connsiteX0" fmla="*/ 10380483 w 16007734"/>
              <a:gd name="connsiteY0" fmla="*/ 0 h 8912999"/>
              <a:gd name="connsiteX1" fmla="*/ 14109974 w 16007734"/>
              <a:gd name="connsiteY1" fmla="*/ 5713304 h 8912999"/>
              <a:gd name="connsiteX2" fmla="*/ 13895975 w 16007734"/>
              <a:gd name="connsiteY2" fmla="*/ 6831837 h 8912999"/>
              <a:gd name="connsiteX3" fmla="*/ 13993068 w 16007734"/>
              <a:gd name="connsiteY3" fmla="*/ 7122194 h 8912999"/>
              <a:gd name="connsiteX4" fmla="*/ 16007734 w 16007734"/>
              <a:gd name="connsiteY4" fmla="*/ 8912999 h 8912999"/>
              <a:gd name="connsiteX5" fmla="*/ 0 w 16007734"/>
              <a:gd name="connsiteY5" fmla="*/ 8910541 h 8912999"/>
              <a:gd name="connsiteX6" fmla="*/ 2335345 w 16007734"/>
              <a:gd name="connsiteY6" fmla="*/ 4964743 h 8912999"/>
              <a:gd name="connsiteX7" fmla="*/ 4631111 w 16007734"/>
              <a:gd name="connsiteY7" fmla="*/ 2448063 h 8912999"/>
              <a:gd name="connsiteX8" fmla="*/ 6856786 w 16007734"/>
              <a:gd name="connsiteY8" fmla="*/ 1092338 h 8912999"/>
              <a:gd name="connsiteX9" fmla="*/ 8717336 w 16007734"/>
              <a:gd name="connsiteY9" fmla="*/ 358913 h 8912999"/>
              <a:gd name="connsiteX10" fmla="*/ 10380483 w 16007734"/>
              <a:gd name="connsiteY10" fmla="*/ 0 h 8912999"/>
              <a:gd name="connsiteX0" fmla="*/ 10380483 w 16007734"/>
              <a:gd name="connsiteY0" fmla="*/ 0 h 8912999"/>
              <a:gd name="connsiteX1" fmla="*/ 14109974 w 16007734"/>
              <a:gd name="connsiteY1" fmla="*/ 5713304 h 8912999"/>
              <a:gd name="connsiteX2" fmla="*/ 13895975 w 16007734"/>
              <a:gd name="connsiteY2" fmla="*/ 6831837 h 8912999"/>
              <a:gd name="connsiteX3" fmla="*/ 13993068 w 16007734"/>
              <a:gd name="connsiteY3" fmla="*/ 7122194 h 8912999"/>
              <a:gd name="connsiteX4" fmla="*/ 16007734 w 16007734"/>
              <a:gd name="connsiteY4" fmla="*/ 8912999 h 8912999"/>
              <a:gd name="connsiteX5" fmla="*/ 0 w 16007734"/>
              <a:gd name="connsiteY5" fmla="*/ 8910541 h 8912999"/>
              <a:gd name="connsiteX6" fmla="*/ 2335345 w 16007734"/>
              <a:gd name="connsiteY6" fmla="*/ 4964743 h 8912999"/>
              <a:gd name="connsiteX7" fmla="*/ 4631111 w 16007734"/>
              <a:gd name="connsiteY7" fmla="*/ 2448063 h 8912999"/>
              <a:gd name="connsiteX8" fmla="*/ 6856786 w 16007734"/>
              <a:gd name="connsiteY8" fmla="*/ 1092338 h 8912999"/>
              <a:gd name="connsiteX9" fmla="*/ 8717336 w 16007734"/>
              <a:gd name="connsiteY9" fmla="*/ 358913 h 8912999"/>
              <a:gd name="connsiteX10" fmla="*/ 10380483 w 16007734"/>
              <a:gd name="connsiteY10" fmla="*/ 0 h 8912999"/>
              <a:gd name="connsiteX0" fmla="*/ 10380483 w 16007734"/>
              <a:gd name="connsiteY0" fmla="*/ 0 h 8912999"/>
              <a:gd name="connsiteX1" fmla="*/ 14109974 w 16007734"/>
              <a:gd name="connsiteY1" fmla="*/ 5713304 h 8912999"/>
              <a:gd name="connsiteX2" fmla="*/ 13895975 w 16007734"/>
              <a:gd name="connsiteY2" fmla="*/ 6831837 h 8912999"/>
              <a:gd name="connsiteX3" fmla="*/ 13993068 w 16007734"/>
              <a:gd name="connsiteY3" fmla="*/ 7122194 h 8912999"/>
              <a:gd name="connsiteX4" fmla="*/ 16007734 w 16007734"/>
              <a:gd name="connsiteY4" fmla="*/ 8912999 h 8912999"/>
              <a:gd name="connsiteX5" fmla="*/ 0 w 16007734"/>
              <a:gd name="connsiteY5" fmla="*/ 8910541 h 8912999"/>
              <a:gd name="connsiteX6" fmla="*/ 2335345 w 16007734"/>
              <a:gd name="connsiteY6" fmla="*/ 4964743 h 8912999"/>
              <a:gd name="connsiteX7" fmla="*/ 4631111 w 16007734"/>
              <a:gd name="connsiteY7" fmla="*/ 2448063 h 8912999"/>
              <a:gd name="connsiteX8" fmla="*/ 6856786 w 16007734"/>
              <a:gd name="connsiteY8" fmla="*/ 1092338 h 8912999"/>
              <a:gd name="connsiteX9" fmla="*/ 8717336 w 16007734"/>
              <a:gd name="connsiteY9" fmla="*/ 358913 h 8912999"/>
              <a:gd name="connsiteX10" fmla="*/ 10380483 w 16007734"/>
              <a:gd name="connsiteY10" fmla="*/ 0 h 8912999"/>
              <a:gd name="connsiteX0" fmla="*/ 10380483 w 16007734"/>
              <a:gd name="connsiteY0" fmla="*/ 0 h 8912999"/>
              <a:gd name="connsiteX1" fmla="*/ 14109974 w 16007734"/>
              <a:gd name="connsiteY1" fmla="*/ 5713304 h 8912999"/>
              <a:gd name="connsiteX2" fmla="*/ 13895975 w 16007734"/>
              <a:gd name="connsiteY2" fmla="*/ 6831837 h 8912999"/>
              <a:gd name="connsiteX3" fmla="*/ 13993068 w 16007734"/>
              <a:gd name="connsiteY3" fmla="*/ 7122194 h 8912999"/>
              <a:gd name="connsiteX4" fmla="*/ 16007734 w 16007734"/>
              <a:gd name="connsiteY4" fmla="*/ 8912999 h 8912999"/>
              <a:gd name="connsiteX5" fmla="*/ 0 w 16007734"/>
              <a:gd name="connsiteY5" fmla="*/ 8910541 h 8912999"/>
              <a:gd name="connsiteX6" fmla="*/ 2350913 w 16007734"/>
              <a:gd name="connsiteY6" fmla="*/ 4956959 h 8912999"/>
              <a:gd name="connsiteX7" fmla="*/ 4631111 w 16007734"/>
              <a:gd name="connsiteY7" fmla="*/ 2448063 h 8912999"/>
              <a:gd name="connsiteX8" fmla="*/ 6856786 w 16007734"/>
              <a:gd name="connsiteY8" fmla="*/ 1092338 h 8912999"/>
              <a:gd name="connsiteX9" fmla="*/ 8717336 w 16007734"/>
              <a:gd name="connsiteY9" fmla="*/ 358913 h 8912999"/>
              <a:gd name="connsiteX10" fmla="*/ 10380483 w 16007734"/>
              <a:gd name="connsiteY10" fmla="*/ 0 h 8912999"/>
              <a:gd name="connsiteX0" fmla="*/ 10380483 w 16007734"/>
              <a:gd name="connsiteY0" fmla="*/ 0 h 8912999"/>
              <a:gd name="connsiteX1" fmla="*/ 14109974 w 16007734"/>
              <a:gd name="connsiteY1" fmla="*/ 5713304 h 8912999"/>
              <a:gd name="connsiteX2" fmla="*/ 13895975 w 16007734"/>
              <a:gd name="connsiteY2" fmla="*/ 6831837 h 8912999"/>
              <a:gd name="connsiteX3" fmla="*/ 13993068 w 16007734"/>
              <a:gd name="connsiteY3" fmla="*/ 7122194 h 8912999"/>
              <a:gd name="connsiteX4" fmla="*/ 16007734 w 16007734"/>
              <a:gd name="connsiteY4" fmla="*/ 8912999 h 8912999"/>
              <a:gd name="connsiteX5" fmla="*/ 0 w 16007734"/>
              <a:gd name="connsiteY5" fmla="*/ 8910541 h 8912999"/>
              <a:gd name="connsiteX6" fmla="*/ 2350913 w 16007734"/>
              <a:gd name="connsiteY6" fmla="*/ 4956959 h 8912999"/>
              <a:gd name="connsiteX7" fmla="*/ 5467848 w 16007734"/>
              <a:gd name="connsiteY7" fmla="*/ 1992722 h 8912999"/>
              <a:gd name="connsiteX8" fmla="*/ 6856786 w 16007734"/>
              <a:gd name="connsiteY8" fmla="*/ 1092338 h 8912999"/>
              <a:gd name="connsiteX9" fmla="*/ 8717336 w 16007734"/>
              <a:gd name="connsiteY9" fmla="*/ 358913 h 8912999"/>
              <a:gd name="connsiteX10" fmla="*/ 10380483 w 16007734"/>
              <a:gd name="connsiteY10" fmla="*/ 0 h 8912999"/>
              <a:gd name="connsiteX0" fmla="*/ 10380483 w 16007734"/>
              <a:gd name="connsiteY0" fmla="*/ 0 h 8912999"/>
              <a:gd name="connsiteX1" fmla="*/ 14109974 w 16007734"/>
              <a:gd name="connsiteY1" fmla="*/ 5713304 h 8912999"/>
              <a:gd name="connsiteX2" fmla="*/ 13895975 w 16007734"/>
              <a:gd name="connsiteY2" fmla="*/ 6831837 h 8912999"/>
              <a:gd name="connsiteX3" fmla="*/ 13993068 w 16007734"/>
              <a:gd name="connsiteY3" fmla="*/ 7122194 h 8912999"/>
              <a:gd name="connsiteX4" fmla="*/ 16007734 w 16007734"/>
              <a:gd name="connsiteY4" fmla="*/ 8912999 h 8912999"/>
              <a:gd name="connsiteX5" fmla="*/ 0 w 16007734"/>
              <a:gd name="connsiteY5" fmla="*/ 8910541 h 8912999"/>
              <a:gd name="connsiteX6" fmla="*/ 2350913 w 16007734"/>
              <a:gd name="connsiteY6" fmla="*/ 4956959 h 8912999"/>
              <a:gd name="connsiteX7" fmla="*/ 5467848 w 16007734"/>
              <a:gd name="connsiteY7" fmla="*/ 1992722 h 8912999"/>
              <a:gd name="connsiteX8" fmla="*/ 6856786 w 16007734"/>
              <a:gd name="connsiteY8" fmla="*/ 1092338 h 8912999"/>
              <a:gd name="connsiteX9" fmla="*/ 8717336 w 16007734"/>
              <a:gd name="connsiteY9" fmla="*/ 358913 h 8912999"/>
              <a:gd name="connsiteX10" fmla="*/ 10380483 w 16007734"/>
              <a:gd name="connsiteY10" fmla="*/ 0 h 8912999"/>
              <a:gd name="connsiteX0" fmla="*/ 10380483 w 16007734"/>
              <a:gd name="connsiteY0" fmla="*/ 0 h 8912999"/>
              <a:gd name="connsiteX1" fmla="*/ 14109974 w 16007734"/>
              <a:gd name="connsiteY1" fmla="*/ 5713304 h 8912999"/>
              <a:gd name="connsiteX2" fmla="*/ 13895975 w 16007734"/>
              <a:gd name="connsiteY2" fmla="*/ 6831837 h 8912999"/>
              <a:gd name="connsiteX3" fmla="*/ 13993068 w 16007734"/>
              <a:gd name="connsiteY3" fmla="*/ 7122194 h 8912999"/>
              <a:gd name="connsiteX4" fmla="*/ 16007734 w 16007734"/>
              <a:gd name="connsiteY4" fmla="*/ 8912999 h 8912999"/>
              <a:gd name="connsiteX5" fmla="*/ 0 w 16007734"/>
              <a:gd name="connsiteY5" fmla="*/ 8910541 h 8912999"/>
              <a:gd name="connsiteX6" fmla="*/ 2350913 w 16007734"/>
              <a:gd name="connsiteY6" fmla="*/ 4956959 h 8912999"/>
              <a:gd name="connsiteX7" fmla="*/ 5467848 w 16007734"/>
              <a:gd name="connsiteY7" fmla="*/ 1992722 h 8912999"/>
              <a:gd name="connsiteX8" fmla="*/ 6856786 w 16007734"/>
              <a:gd name="connsiteY8" fmla="*/ 1092338 h 8912999"/>
              <a:gd name="connsiteX9" fmla="*/ 8717336 w 16007734"/>
              <a:gd name="connsiteY9" fmla="*/ 358913 h 8912999"/>
              <a:gd name="connsiteX10" fmla="*/ 10380483 w 16007734"/>
              <a:gd name="connsiteY10" fmla="*/ 0 h 8912999"/>
              <a:gd name="connsiteX0" fmla="*/ 10380483 w 16007734"/>
              <a:gd name="connsiteY0" fmla="*/ 0 h 8912999"/>
              <a:gd name="connsiteX1" fmla="*/ 14109974 w 16007734"/>
              <a:gd name="connsiteY1" fmla="*/ 5713304 h 8912999"/>
              <a:gd name="connsiteX2" fmla="*/ 13895975 w 16007734"/>
              <a:gd name="connsiteY2" fmla="*/ 6831837 h 8912999"/>
              <a:gd name="connsiteX3" fmla="*/ 13993068 w 16007734"/>
              <a:gd name="connsiteY3" fmla="*/ 7122194 h 8912999"/>
              <a:gd name="connsiteX4" fmla="*/ 16007734 w 16007734"/>
              <a:gd name="connsiteY4" fmla="*/ 8912999 h 8912999"/>
              <a:gd name="connsiteX5" fmla="*/ 0 w 16007734"/>
              <a:gd name="connsiteY5" fmla="*/ 8910541 h 8912999"/>
              <a:gd name="connsiteX6" fmla="*/ 2350913 w 16007734"/>
              <a:gd name="connsiteY6" fmla="*/ 4956959 h 8912999"/>
              <a:gd name="connsiteX7" fmla="*/ 5467848 w 16007734"/>
              <a:gd name="connsiteY7" fmla="*/ 1992722 h 8912999"/>
              <a:gd name="connsiteX8" fmla="*/ 6856786 w 16007734"/>
              <a:gd name="connsiteY8" fmla="*/ 1092338 h 8912999"/>
              <a:gd name="connsiteX9" fmla="*/ 8717336 w 16007734"/>
              <a:gd name="connsiteY9" fmla="*/ 358913 h 8912999"/>
              <a:gd name="connsiteX10" fmla="*/ 10380483 w 16007734"/>
              <a:gd name="connsiteY10" fmla="*/ 0 h 8912999"/>
              <a:gd name="connsiteX0" fmla="*/ 10380483 w 16007734"/>
              <a:gd name="connsiteY0" fmla="*/ 0 h 8912999"/>
              <a:gd name="connsiteX1" fmla="*/ 14109974 w 16007734"/>
              <a:gd name="connsiteY1" fmla="*/ 5713304 h 8912999"/>
              <a:gd name="connsiteX2" fmla="*/ 13895975 w 16007734"/>
              <a:gd name="connsiteY2" fmla="*/ 6831837 h 8912999"/>
              <a:gd name="connsiteX3" fmla="*/ 13993068 w 16007734"/>
              <a:gd name="connsiteY3" fmla="*/ 7122194 h 8912999"/>
              <a:gd name="connsiteX4" fmla="*/ 16007734 w 16007734"/>
              <a:gd name="connsiteY4" fmla="*/ 8912999 h 8912999"/>
              <a:gd name="connsiteX5" fmla="*/ 0 w 16007734"/>
              <a:gd name="connsiteY5" fmla="*/ 8910541 h 8912999"/>
              <a:gd name="connsiteX6" fmla="*/ 2350913 w 16007734"/>
              <a:gd name="connsiteY6" fmla="*/ 4956959 h 8912999"/>
              <a:gd name="connsiteX7" fmla="*/ 5491200 w 16007734"/>
              <a:gd name="connsiteY7" fmla="*/ 1969372 h 8912999"/>
              <a:gd name="connsiteX8" fmla="*/ 6856786 w 16007734"/>
              <a:gd name="connsiteY8" fmla="*/ 1092338 h 8912999"/>
              <a:gd name="connsiteX9" fmla="*/ 8717336 w 16007734"/>
              <a:gd name="connsiteY9" fmla="*/ 358913 h 8912999"/>
              <a:gd name="connsiteX10" fmla="*/ 10380483 w 16007734"/>
              <a:gd name="connsiteY10" fmla="*/ 0 h 8912999"/>
              <a:gd name="connsiteX0" fmla="*/ 10380483 w 16007734"/>
              <a:gd name="connsiteY0" fmla="*/ 0 h 8912999"/>
              <a:gd name="connsiteX1" fmla="*/ 14109974 w 16007734"/>
              <a:gd name="connsiteY1" fmla="*/ 5713304 h 8912999"/>
              <a:gd name="connsiteX2" fmla="*/ 13895975 w 16007734"/>
              <a:gd name="connsiteY2" fmla="*/ 6831837 h 8912999"/>
              <a:gd name="connsiteX3" fmla="*/ 13993068 w 16007734"/>
              <a:gd name="connsiteY3" fmla="*/ 7122194 h 8912999"/>
              <a:gd name="connsiteX4" fmla="*/ 16007734 w 16007734"/>
              <a:gd name="connsiteY4" fmla="*/ 8912999 h 8912999"/>
              <a:gd name="connsiteX5" fmla="*/ 0 w 16007734"/>
              <a:gd name="connsiteY5" fmla="*/ 8910541 h 8912999"/>
              <a:gd name="connsiteX6" fmla="*/ 2350913 w 16007734"/>
              <a:gd name="connsiteY6" fmla="*/ 4956959 h 8912999"/>
              <a:gd name="connsiteX7" fmla="*/ 5491200 w 16007734"/>
              <a:gd name="connsiteY7" fmla="*/ 1969372 h 8912999"/>
              <a:gd name="connsiteX8" fmla="*/ 7078618 w 16007734"/>
              <a:gd name="connsiteY8" fmla="*/ 1037853 h 8912999"/>
              <a:gd name="connsiteX9" fmla="*/ 8717336 w 16007734"/>
              <a:gd name="connsiteY9" fmla="*/ 358913 h 8912999"/>
              <a:gd name="connsiteX10" fmla="*/ 10380483 w 16007734"/>
              <a:gd name="connsiteY10" fmla="*/ 0 h 8912999"/>
              <a:gd name="connsiteX0" fmla="*/ 10380483 w 16007734"/>
              <a:gd name="connsiteY0" fmla="*/ 0 h 8912999"/>
              <a:gd name="connsiteX1" fmla="*/ 14109974 w 16007734"/>
              <a:gd name="connsiteY1" fmla="*/ 5713304 h 8912999"/>
              <a:gd name="connsiteX2" fmla="*/ 13895975 w 16007734"/>
              <a:gd name="connsiteY2" fmla="*/ 6831837 h 8912999"/>
              <a:gd name="connsiteX3" fmla="*/ 13993068 w 16007734"/>
              <a:gd name="connsiteY3" fmla="*/ 7122194 h 8912999"/>
              <a:gd name="connsiteX4" fmla="*/ 16007734 w 16007734"/>
              <a:gd name="connsiteY4" fmla="*/ 8912999 h 8912999"/>
              <a:gd name="connsiteX5" fmla="*/ 0 w 16007734"/>
              <a:gd name="connsiteY5" fmla="*/ 8910541 h 8912999"/>
              <a:gd name="connsiteX6" fmla="*/ 2350913 w 16007734"/>
              <a:gd name="connsiteY6" fmla="*/ 4956959 h 8912999"/>
              <a:gd name="connsiteX7" fmla="*/ 5491200 w 16007734"/>
              <a:gd name="connsiteY7" fmla="*/ 1969372 h 8912999"/>
              <a:gd name="connsiteX8" fmla="*/ 7078618 w 16007734"/>
              <a:gd name="connsiteY8" fmla="*/ 1037853 h 8912999"/>
              <a:gd name="connsiteX9" fmla="*/ 8760147 w 16007734"/>
              <a:gd name="connsiteY9" fmla="*/ 358913 h 8912999"/>
              <a:gd name="connsiteX10" fmla="*/ 10380483 w 16007734"/>
              <a:gd name="connsiteY10" fmla="*/ 0 h 8912999"/>
              <a:gd name="connsiteX0" fmla="*/ 10380483 w 16007734"/>
              <a:gd name="connsiteY0" fmla="*/ 0 h 8912999"/>
              <a:gd name="connsiteX1" fmla="*/ 14109974 w 16007734"/>
              <a:gd name="connsiteY1" fmla="*/ 5713304 h 8912999"/>
              <a:gd name="connsiteX2" fmla="*/ 13895975 w 16007734"/>
              <a:gd name="connsiteY2" fmla="*/ 6831837 h 8912999"/>
              <a:gd name="connsiteX3" fmla="*/ 13993068 w 16007734"/>
              <a:gd name="connsiteY3" fmla="*/ 7122194 h 8912999"/>
              <a:gd name="connsiteX4" fmla="*/ 16007734 w 16007734"/>
              <a:gd name="connsiteY4" fmla="*/ 8912999 h 8912999"/>
              <a:gd name="connsiteX5" fmla="*/ 0 w 16007734"/>
              <a:gd name="connsiteY5" fmla="*/ 8910541 h 8912999"/>
              <a:gd name="connsiteX6" fmla="*/ 2350913 w 16007734"/>
              <a:gd name="connsiteY6" fmla="*/ 4956959 h 8912999"/>
              <a:gd name="connsiteX7" fmla="*/ 5491200 w 16007734"/>
              <a:gd name="connsiteY7" fmla="*/ 1969372 h 8912999"/>
              <a:gd name="connsiteX8" fmla="*/ 7078618 w 16007734"/>
              <a:gd name="connsiteY8" fmla="*/ 1037853 h 8912999"/>
              <a:gd name="connsiteX9" fmla="*/ 8760147 w 16007734"/>
              <a:gd name="connsiteY9" fmla="*/ 358913 h 8912999"/>
              <a:gd name="connsiteX10" fmla="*/ 10380483 w 16007734"/>
              <a:gd name="connsiteY10" fmla="*/ 0 h 8912999"/>
              <a:gd name="connsiteX0" fmla="*/ 10380483 w 16007734"/>
              <a:gd name="connsiteY0" fmla="*/ 0 h 8912999"/>
              <a:gd name="connsiteX1" fmla="*/ 14109974 w 16007734"/>
              <a:gd name="connsiteY1" fmla="*/ 5713304 h 8912999"/>
              <a:gd name="connsiteX2" fmla="*/ 13895975 w 16007734"/>
              <a:gd name="connsiteY2" fmla="*/ 6831837 h 8912999"/>
              <a:gd name="connsiteX3" fmla="*/ 13993068 w 16007734"/>
              <a:gd name="connsiteY3" fmla="*/ 7122194 h 8912999"/>
              <a:gd name="connsiteX4" fmla="*/ 16007734 w 16007734"/>
              <a:gd name="connsiteY4" fmla="*/ 8912999 h 8912999"/>
              <a:gd name="connsiteX5" fmla="*/ 0 w 16007734"/>
              <a:gd name="connsiteY5" fmla="*/ 8910541 h 8912999"/>
              <a:gd name="connsiteX6" fmla="*/ 2350913 w 16007734"/>
              <a:gd name="connsiteY6" fmla="*/ 4956959 h 8912999"/>
              <a:gd name="connsiteX7" fmla="*/ 5491200 w 16007734"/>
              <a:gd name="connsiteY7" fmla="*/ 1969372 h 8912999"/>
              <a:gd name="connsiteX8" fmla="*/ 7078618 w 16007734"/>
              <a:gd name="connsiteY8" fmla="*/ 1037853 h 8912999"/>
              <a:gd name="connsiteX9" fmla="*/ 8760147 w 16007734"/>
              <a:gd name="connsiteY9" fmla="*/ 358913 h 8912999"/>
              <a:gd name="connsiteX10" fmla="*/ 10380483 w 16007734"/>
              <a:gd name="connsiteY10" fmla="*/ 0 h 8912999"/>
              <a:gd name="connsiteX0" fmla="*/ 10380483 w 16007734"/>
              <a:gd name="connsiteY0" fmla="*/ 0 h 8912999"/>
              <a:gd name="connsiteX1" fmla="*/ 14109974 w 16007734"/>
              <a:gd name="connsiteY1" fmla="*/ 5713304 h 8912999"/>
              <a:gd name="connsiteX2" fmla="*/ 13895975 w 16007734"/>
              <a:gd name="connsiteY2" fmla="*/ 6831837 h 8912999"/>
              <a:gd name="connsiteX3" fmla="*/ 13993068 w 16007734"/>
              <a:gd name="connsiteY3" fmla="*/ 7122194 h 8912999"/>
              <a:gd name="connsiteX4" fmla="*/ 16007734 w 16007734"/>
              <a:gd name="connsiteY4" fmla="*/ 8912999 h 8912999"/>
              <a:gd name="connsiteX5" fmla="*/ 0 w 16007734"/>
              <a:gd name="connsiteY5" fmla="*/ 8910541 h 8912999"/>
              <a:gd name="connsiteX6" fmla="*/ 2350913 w 16007734"/>
              <a:gd name="connsiteY6" fmla="*/ 4956959 h 8912999"/>
              <a:gd name="connsiteX7" fmla="*/ 5491200 w 16007734"/>
              <a:gd name="connsiteY7" fmla="*/ 1969372 h 8912999"/>
              <a:gd name="connsiteX8" fmla="*/ 7078618 w 16007734"/>
              <a:gd name="connsiteY8" fmla="*/ 1037853 h 8912999"/>
              <a:gd name="connsiteX9" fmla="*/ 8760147 w 16007734"/>
              <a:gd name="connsiteY9" fmla="*/ 358913 h 8912999"/>
              <a:gd name="connsiteX10" fmla="*/ 10380483 w 16007734"/>
              <a:gd name="connsiteY10" fmla="*/ 0 h 8912999"/>
              <a:gd name="connsiteX0" fmla="*/ 10380483 w 16007734"/>
              <a:gd name="connsiteY0" fmla="*/ 0 h 8912999"/>
              <a:gd name="connsiteX1" fmla="*/ 14109974 w 16007734"/>
              <a:gd name="connsiteY1" fmla="*/ 5713304 h 8912999"/>
              <a:gd name="connsiteX2" fmla="*/ 13895975 w 16007734"/>
              <a:gd name="connsiteY2" fmla="*/ 6831837 h 8912999"/>
              <a:gd name="connsiteX3" fmla="*/ 13993068 w 16007734"/>
              <a:gd name="connsiteY3" fmla="*/ 7122194 h 8912999"/>
              <a:gd name="connsiteX4" fmla="*/ 16007734 w 16007734"/>
              <a:gd name="connsiteY4" fmla="*/ 8912999 h 8912999"/>
              <a:gd name="connsiteX5" fmla="*/ 0 w 16007734"/>
              <a:gd name="connsiteY5" fmla="*/ 8910541 h 8912999"/>
              <a:gd name="connsiteX6" fmla="*/ 2350913 w 16007734"/>
              <a:gd name="connsiteY6" fmla="*/ 4956959 h 8912999"/>
              <a:gd name="connsiteX7" fmla="*/ 5491200 w 16007734"/>
              <a:gd name="connsiteY7" fmla="*/ 1969372 h 8912999"/>
              <a:gd name="connsiteX8" fmla="*/ 7078618 w 16007734"/>
              <a:gd name="connsiteY8" fmla="*/ 1037853 h 8912999"/>
              <a:gd name="connsiteX9" fmla="*/ 8760147 w 16007734"/>
              <a:gd name="connsiteY9" fmla="*/ 358913 h 8912999"/>
              <a:gd name="connsiteX10" fmla="*/ 10380483 w 16007734"/>
              <a:gd name="connsiteY10" fmla="*/ 0 h 8912999"/>
              <a:gd name="connsiteX0" fmla="*/ 10380483 w 16007734"/>
              <a:gd name="connsiteY0" fmla="*/ 0 h 8912999"/>
              <a:gd name="connsiteX1" fmla="*/ 14109974 w 16007734"/>
              <a:gd name="connsiteY1" fmla="*/ 5713304 h 8912999"/>
              <a:gd name="connsiteX2" fmla="*/ 13895975 w 16007734"/>
              <a:gd name="connsiteY2" fmla="*/ 6831837 h 8912999"/>
              <a:gd name="connsiteX3" fmla="*/ 13993068 w 16007734"/>
              <a:gd name="connsiteY3" fmla="*/ 7122194 h 8912999"/>
              <a:gd name="connsiteX4" fmla="*/ 16007734 w 16007734"/>
              <a:gd name="connsiteY4" fmla="*/ 8912999 h 8912999"/>
              <a:gd name="connsiteX5" fmla="*/ 0 w 16007734"/>
              <a:gd name="connsiteY5" fmla="*/ 8910541 h 8912999"/>
              <a:gd name="connsiteX6" fmla="*/ 2350913 w 16007734"/>
              <a:gd name="connsiteY6" fmla="*/ 4956959 h 8912999"/>
              <a:gd name="connsiteX7" fmla="*/ 5491200 w 16007734"/>
              <a:gd name="connsiteY7" fmla="*/ 1969372 h 8912999"/>
              <a:gd name="connsiteX8" fmla="*/ 7078618 w 16007734"/>
              <a:gd name="connsiteY8" fmla="*/ 1037853 h 8912999"/>
              <a:gd name="connsiteX9" fmla="*/ 8760147 w 16007734"/>
              <a:gd name="connsiteY9" fmla="*/ 358913 h 8912999"/>
              <a:gd name="connsiteX10" fmla="*/ 10380483 w 16007734"/>
              <a:gd name="connsiteY10" fmla="*/ 0 h 8912999"/>
              <a:gd name="connsiteX0" fmla="*/ 10380483 w 16007734"/>
              <a:gd name="connsiteY0" fmla="*/ 0 h 8912999"/>
              <a:gd name="connsiteX1" fmla="*/ 14109974 w 16007734"/>
              <a:gd name="connsiteY1" fmla="*/ 5713304 h 8912999"/>
              <a:gd name="connsiteX2" fmla="*/ 13895975 w 16007734"/>
              <a:gd name="connsiteY2" fmla="*/ 6831837 h 8912999"/>
              <a:gd name="connsiteX3" fmla="*/ 13993068 w 16007734"/>
              <a:gd name="connsiteY3" fmla="*/ 7122194 h 8912999"/>
              <a:gd name="connsiteX4" fmla="*/ 16007734 w 16007734"/>
              <a:gd name="connsiteY4" fmla="*/ 8912999 h 8912999"/>
              <a:gd name="connsiteX5" fmla="*/ 0 w 16007734"/>
              <a:gd name="connsiteY5" fmla="*/ 8910541 h 8912999"/>
              <a:gd name="connsiteX6" fmla="*/ 2350913 w 16007734"/>
              <a:gd name="connsiteY6" fmla="*/ 4956959 h 8912999"/>
              <a:gd name="connsiteX7" fmla="*/ 5491200 w 16007734"/>
              <a:gd name="connsiteY7" fmla="*/ 1969372 h 8912999"/>
              <a:gd name="connsiteX8" fmla="*/ 7078618 w 16007734"/>
              <a:gd name="connsiteY8" fmla="*/ 1037853 h 8912999"/>
              <a:gd name="connsiteX9" fmla="*/ 8760147 w 16007734"/>
              <a:gd name="connsiteY9" fmla="*/ 358913 h 8912999"/>
              <a:gd name="connsiteX10" fmla="*/ 10380483 w 16007734"/>
              <a:gd name="connsiteY10" fmla="*/ 0 h 8912999"/>
              <a:gd name="connsiteX0" fmla="*/ 10380483 w 16007734"/>
              <a:gd name="connsiteY0" fmla="*/ 0 h 8912999"/>
              <a:gd name="connsiteX1" fmla="*/ 14109974 w 16007734"/>
              <a:gd name="connsiteY1" fmla="*/ 5713304 h 8912999"/>
              <a:gd name="connsiteX2" fmla="*/ 13895975 w 16007734"/>
              <a:gd name="connsiteY2" fmla="*/ 6831837 h 8912999"/>
              <a:gd name="connsiteX3" fmla="*/ 13993068 w 16007734"/>
              <a:gd name="connsiteY3" fmla="*/ 7122194 h 8912999"/>
              <a:gd name="connsiteX4" fmla="*/ 16007734 w 16007734"/>
              <a:gd name="connsiteY4" fmla="*/ 8912999 h 8912999"/>
              <a:gd name="connsiteX5" fmla="*/ 0 w 16007734"/>
              <a:gd name="connsiteY5" fmla="*/ 8910541 h 8912999"/>
              <a:gd name="connsiteX6" fmla="*/ 2350913 w 16007734"/>
              <a:gd name="connsiteY6" fmla="*/ 4956959 h 8912999"/>
              <a:gd name="connsiteX7" fmla="*/ 5491200 w 16007734"/>
              <a:gd name="connsiteY7" fmla="*/ 1969372 h 8912999"/>
              <a:gd name="connsiteX8" fmla="*/ 7168130 w 16007734"/>
              <a:gd name="connsiteY8" fmla="*/ 995043 h 8912999"/>
              <a:gd name="connsiteX9" fmla="*/ 8760147 w 16007734"/>
              <a:gd name="connsiteY9" fmla="*/ 358913 h 8912999"/>
              <a:gd name="connsiteX10" fmla="*/ 10380483 w 16007734"/>
              <a:gd name="connsiteY10" fmla="*/ 0 h 8912999"/>
              <a:gd name="connsiteX0" fmla="*/ 10380483 w 16007734"/>
              <a:gd name="connsiteY0" fmla="*/ 0 h 8912999"/>
              <a:gd name="connsiteX1" fmla="*/ 14109974 w 16007734"/>
              <a:gd name="connsiteY1" fmla="*/ 5713304 h 8912999"/>
              <a:gd name="connsiteX2" fmla="*/ 13895975 w 16007734"/>
              <a:gd name="connsiteY2" fmla="*/ 6831837 h 8912999"/>
              <a:gd name="connsiteX3" fmla="*/ 13993068 w 16007734"/>
              <a:gd name="connsiteY3" fmla="*/ 7122194 h 8912999"/>
              <a:gd name="connsiteX4" fmla="*/ 16007734 w 16007734"/>
              <a:gd name="connsiteY4" fmla="*/ 8912999 h 8912999"/>
              <a:gd name="connsiteX5" fmla="*/ 0 w 16007734"/>
              <a:gd name="connsiteY5" fmla="*/ 8910541 h 8912999"/>
              <a:gd name="connsiteX6" fmla="*/ 2350913 w 16007734"/>
              <a:gd name="connsiteY6" fmla="*/ 4956959 h 8912999"/>
              <a:gd name="connsiteX7" fmla="*/ 5491200 w 16007734"/>
              <a:gd name="connsiteY7" fmla="*/ 1969372 h 8912999"/>
              <a:gd name="connsiteX8" fmla="*/ 7168130 w 16007734"/>
              <a:gd name="connsiteY8" fmla="*/ 995043 h 8912999"/>
              <a:gd name="connsiteX9" fmla="*/ 8760147 w 16007734"/>
              <a:gd name="connsiteY9" fmla="*/ 358913 h 8912999"/>
              <a:gd name="connsiteX10" fmla="*/ 10380483 w 16007734"/>
              <a:gd name="connsiteY10" fmla="*/ 0 h 8912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6007734" h="8912999">
                <a:moveTo>
                  <a:pt x="10380483" y="0"/>
                </a:moveTo>
                <a:lnTo>
                  <a:pt x="14109974" y="5713304"/>
                </a:lnTo>
                <a:lnTo>
                  <a:pt x="13895975" y="6831837"/>
                </a:lnTo>
                <a:cubicBezTo>
                  <a:pt x="13858933" y="6995879"/>
                  <a:pt x="13912635" y="7043877"/>
                  <a:pt x="13993068" y="7122194"/>
                </a:cubicBezTo>
                <a:lnTo>
                  <a:pt x="16007734" y="8912999"/>
                </a:lnTo>
                <a:lnTo>
                  <a:pt x="0" y="8910541"/>
                </a:lnTo>
                <a:cubicBezTo>
                  <a:pt x="465496" y="7873576"/>
                  <a:pt x="1314027" y="6237477"/>
                  <a:pt x="2350913" y="4956959"/>
                </a:cubicBezTo>
                <a:cubicBezTo>
                  <a:pt x="3383366" y="3642476"/>
                  <a:pt x="4297433" y="2811704"/>
                  <a:pt x="5491200" y="1969372"/>
                </a:cubicBezTo>
                <a:cubicBezTo>
                  <a:pt x="6374121" y="1389747"/>
                  <a:pt x="6463007" y="1339718"/>
                  <a:pt x="7168130" y="995043"/>
                </a:cubicBezTo>
                <a:cubicBezTo>
                  <a:pt x="7863181" y="674368"/>
                  <a:pt x="8089472" y="583006"/>
                  <a:pt x="8760147" y="358913"/>
                </a:cubicBezTo>
                <a:cubicBezTo>
                  <a:pt x="9366763" y="182842"/>
                  <a:pt x="9675750" y="81947"/>
                  <a:pt x="10380483" y="0"/>
                </a:cubicBezTo>
                <a:close/>
              </a:path>
            </a:pathLst>
          </a:custGeom>
        </p:spPr>
        <p:txBody>
          <a:bodyPr anchor="ctr" anchorCtr="1">
            <a:noAutofit/>
          </a:bodyPr>
          <a:lstStyle>
            <a:lvl1pPr>
              <a:defRPr sz="3000" b="1" i="0">
                <a:solidFill>
                  <a:schemeClr val="bg1"/>
                </a:solidFill>
                <a:latin typeface="Avenir Black" panose="02000503020000020003" pitchFamily="2" charset="0"/>
              </a:defRPr>
            </a:lvl1pPr>
          </a:lstStyle>
          <a:p>
            <a:r>
              <a:rPr lang="en-US" dirty="0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218239762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ext Imag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object 3">
            <a:extLst>
              <a:ext uri="{FF2B5EF4-FFF2-40B4-BE49-F238E27FC236}">
                <a16:creationId xmlns:a16="http://schemas.microsoft.com/office/drawing/2014/main" id="{5A6771F5-0525-FB96-D79A-20C0D9869D86}"/>
              </a:ext>
            </a:extLst>
          </p:cNvPr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8933759" y="1173576"/>
            <a:ext cx="11170340" cy="10134979"/>
          </a:xfrm>
          <a:prstGeom prst="rect">
            <a:avLst/>
          </a:prstGeom>
        </p:spPr>
      </p:pic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1A3E89E-C126-F96F-8018-B11D4817676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9292978" y="1565233"/>
            <a:ext cx="10855607" cy="9805215"/>
          </a:xfrm>
          <a:custGeom>
            <a:avLst/>
            <a:gdLst>
              <a:gd name="connsiteX0" fmla="*/ 0 w 6553200"/>
              <a:gd name="connsiteY0" fmla="*/ 0 h 276999"/>
              <a:gd name="connsiteX1" fmla="*/ 6553200 w 6553200"/>
              <a:gd name="connsiteY1" fmla="*/ 0 h 276999"/>
              <a:gd name="connsiteX2" fmla="*/ 6553200 w 6553200"/>
              <a:gd name="connsiteY2" fmla="*/ 276999 h 276999"/>
              <a:gd name="connsiteX3" fmla="*/ 0 w 6553200"/>
              <a:gd name="connsiteY3" fmla="*/ 276999 h 276999"/>
              <a:gd name="connsiteX4" fmla="*/ 0 w 6553200"/>
              <a:gd name="connsiteY4" fmla="*/ 0 h 276999"/>
              <a:gd name="connsiteX0" fmla="*/ 2873829 w 6553200"/>
              <a:gd name="connsiteY0" fmla="*/ 0 h 4528365"/>
              <a:gd name="connsiteX1" fmla="*/ 6553200 w 6553200"/>
              <a:gd name="connsiteY1" fmla="*/ 4251366 h 4528365"/>
              <a:gd name="connsiteX2" fmla="*/ 6553200 w 6553200"/>
              <a:gd name="connsiteY2" fmla="*/ 4528365 h 4528365"/>
              <a:gd name="connsiteX3" fmla="*/ 0 w 6553200"/>
              <a:gd name="connsiteY3" fmla="*/ 4528365 h 4528365"/>
              <a:gd name="connsiteX4" fmla="*/ 2873829 w 6553200"/>
              <a:gd name="connsiteY4" fmla="*/ 0 h 4528365"/>
              <a:gd name="connsiteX0" fmla="*/ 2873829 w 7610103"/>
              <a:gd name="connsiteY0" fmla="*/ 0 h 4528365"/>
              <a:gd name="connsiteX1" fmla="*/ 7610103 w 7610103"/>
              <a:gd name="connsiteY1" fmla="*/ 3883231 h 4528365"/>
              <a:gd name="connsiteX2" fmla="*/ 6553200 w 7610103"/>
              <a:gd name="connsiteY2" fmla="*/ 4528365 h 4528365"/>
              <a:gd name="connsiteX3" fmla="*/ 0 w 7610103"/>
              <a:gd name="connsiteY3" fmla="*/ 4528365 h 4528365"/>
              <a:gd name="connsiteX4" fmla="*/ 2873829 w 7610103"/>
              <a:gd name="connsiteY4" fmla="*/ 0 h 4528365"/>
              <a:gd name="connsiteX0" fmla="*/ 6365175 w 11101449"/>
              <a:gd name="connsiteY0" fmla="*/ 0 h 9765383"/>
              <a:gd name="connsiteX1" fmla="*/ 11101449 w 11101449"/>
              <a:gd name="connsiteY1" fmla="*/ 3883231 h 9765383"/>
              <a:gd name="connsiteX2" fmla="*/ 10044546 w 11101449"/>
              <a:gd name="connsiteY2" fmla="*/ 4528365 h 9765383"/>
              <a:gd name="connsiteX3" fmla="*/ 0 w 11101449"/>
              <a:gd name="connsiteY3" fmla="*/ 9765383 h 9765383"/>
              <a:gd name="connsiteX4" fmla="*/ 6365175 w 11101449"/>
              <a:gd name="connsiteY4" fmla="*/ 0 h 9765383"/>
              <a:gd name="connsiteX0" fmla="*/ 6384225 w 11101449"/>
              <a:gd name="connsiteY0" fmla="*/ 0 h 9593933"/>
              <a:gd name="connsiteX1" fmla="*/ 11101449 w 11101449"/>
              <a:gd name="connsiteY1" fmla="*/ 3711781 h 9593933"/>
              <a:gd name="connsiteX2" fmla="*/ 10044546 w 11101449"/>
              <a:gd name="connsiteY2" fmla="*/ 4356915 h 9593933"/>
              <a:gd name="connsiteX3" fmla="*/ 0 w 11101449"/>
              <a:gd name="connsiteY3" fmla="*/ 9593933 h 9593933"/>
              <a:gd name="connsiteX4" fmla="*/ 6384225 w 11101449"/>
              <a:gd name="connsiteY4" fmla="*/ 0 h 9593933"/>
              <a:gd name="connsiteX0" fmla="*/ 6374700 w 11101449"/>
              <a:gd name="connsiteY0" fmla="*/ 0 h 9759033"/>
              <a:gd name="connsiteX1" fmla="*/ 11101449 w 11101449"/>
              <a:gd name="connsiteY1" fmla="*/ 3876881 h 9759033"/>
              <a:gd name="connsiteX2" fmla="*/ 10044546 w 11101449"/>
              <a:gd name="connsiteY2" fmla="*/ 4522015 h 9759033"/>
              <a:gd name="connsiteX3" fmla="*/ 0 w 11101449"/>
              <a:gd name="connsiteY3" fmla="*/ 9759033 h 9759033"/>
              <a:gd name="connsiteX4" fmla="*/ 6374700 w 11101449"/>
              <a:gd name="connsiteY4" fmla="*/ 0 h 9759033"/>
              <a:gd name="connsiteX0" fmla="*/ 6374700 w 10828399"/>
              <a:gd name="connsiteY0" fmla="*/ 0 h 9759033"/>
              <a:gd name="connsiteX1" fmla="*/ 10828399 w 10828399"/>
              <a:gd name="connsiteY1" fmla="*/ 3695906 h 9759033"/>
              <a:gd name="connsiteX2" fmla="*/ 10044546 w 10828399"/>
              <a:gd name="connsiteY2" fmla="*/ 4522015 h 9759033"/>
              <a:gd name="connsiteX3" fmla="*/ 0 w 10828399"/>
              <a:gd name="connsiteY3" fmla="*/ 9759033 h 9759033"/>
              <a:gd name="connsiteX4" fmla="*/ 6374700 w 10828399"/>
              <a:gd name="connsiteY4" fmla="*/ 0 h 9759033"/>
              <a:gd name="connsiteX0" fmla="*/ 6374700 w 10828399"/>
              <a:gd name="connsiteY0" fmla="*/ 0 h 9759033"/>
              <a:gd name="connsiteX1" fmla="*/ 10828399 w 10828399"/>
              <a:gd name="connsiteY1" fmla="*/ 3695906 h 9759033"/>
              <a:gd name="connsiteX2" fmla="*/ 10825596 w 10828399"/>
              <a:gd name="connsiteY2" fmla="*/ 5347515 h 9759033"/>
              <a:gd name="connsiteX3" fmla="*/ 0 w 10828399"/>
              <a:gd name="connsiteY3" fmla="*/ 9759033 h 9759033"/>
              <a:gd name="connsiteX4" fmla="*/ 6374700 w 10828399"/>
              <a:gd name="connsiteY4" fmla="*/ 0 h 9759033"/>
              <a:gd name="connsiteX0" fmla="*/ 6374700 w 10832054"/>
              <a:gd name="connsiteY0" fmla="*/ 0 h 9759033"/>
              <a:gd name="connsiteX1" fmla="*/ 10828399 w 10832054"/>
              <a:gd name="connsiteY1" fmla="*/ 3695906 h 9759033"/>
              <a:gd name="connsiteX2" fmla="*/ 10831946 w 10832054"/>
              <a:gd name="connsiteY2" fmla="*/ 5693590 h 9759033"/>
              <a:gd name="connsiteX3" fmla="*/ 0 w 10832054"/>
              <a:gd name="connsiteY3" fmla="*/ 9759033 h 9759033"/>
              <a:gd name="connsiteX4" fmla="*/ 6374700 w 10832054"/>
              <a:gd name="connsiteY4" fmla="*/ 0 h 9759033"/>
              <a:gd name="connsiteX0" fmla="*/ 6374700 w 10844680"/>
              <a:gd name="connsiteY0" fmla="*/ 0 h 9808390"/>
              <a:gd name="connsiteX1" fmla="*/ 10828399 w 10844680"/>
              <a:gd name="connsiteY1" fmla="*/ 3695906 h 9808390"/>
              <a:gd name="connsiteX2" fmla="*/ 10844646 w 10844680"/>
              <a:gd name="connsiteY2" fmla="*/ 9808390 h 9808390"/>
              <a:gd name="connsiteX3" fmla="*/ 0 w 10844680"/>
              <a:gd name="connsiteY3" fmla="*/ 9759033 h 9808390"/>
              <a:gd name="connsiteX4" fmla="*/ 6374700 w 10844680"/>
              <a:gd name="connsiteY4" fmla="*/ 0 h 9808390"/>
              <a:gd name="connsiteX0" fmla="*/ 6395842 w 10865822"/>
              <a:gd name="connsiteY0" fmla="*/ 0 h 9808390"/>
              <a:gd name="connsiteX1" fmla="*/ 10849541 w 10865822"/>
              <a:gd name="connsiteY1" fmla="*/ 3695906 h 9808390"/>
              <a:gd name="connsiteX2" fmla="*/ 10865788 w 10865822"/>
              <a:gd name="connsiteY2" fmla="*/ 9808390 h 9808390"/>
              <a:gd name="connsiteX3" fmla="*/ 0 w 10865822"/>
              <a:gd name="connsiteY3" fmla="*/ 9780175 h 9808390"/>
              <a:gd name="connsiteX4" fmla="*/ 6395842 w 10865822"/>
              <a:gd name="connsiteY4" fmla="*/ 0 h 9808390"/>
              <a:gd name="connsiteX0" fmla="*/ 6395842 w 10865822"/>
              <a:gd name="connsiteY0" fmla="*/ 0 h 9808390"/>
              <a:gd name="connsiteX1" fmla="*/ 10849541 w 10865822"/>
              <a:gd name="connsiteY1" fmla="*/ 3695906 h 9808390"/>
              <a:gd name="connsiteX2" fmla="*/ 10865788 w 10865822"/>
              <a:gd name="connsiteY2" fmla="*/ 9808390 h 9808390"/>
              <a:gd name="connsiteX3" fmla="*/ 0 w 10865822"/>
              <a:gd name="connsiteY3" fmla="*/ 9780175 h 9808390"/>
              <a:gd name="connsiteX4" fmla="*/ 6395842 w 10865822"/>
              <a:gd name="connsiteY4" fmla="*/ 0 h 9808390"/>
              <a:gd name="connsiteX0" fmla="*/ 6395842 w 10865822"/>
              <a:gd name="connsiteY0" fmla="*/ 0 h 9808390"/>
              <a:gd name="connsiteX1" fmla="*/ 10849541 w 10865822"/>
              <a:gd name="connsiteY1" fmla="*/ 3695906 h 9808390"/>
              <a:gd name="connsiteX2" fmla="*/ 10865788 w 10865822"/>
              <a:gd name="connsiteY2" fmla="*/ 9808390 h 9808390"/>
              <a:gd name="connsiteX3" fmla="*/ 0 w 10865822"/>
              <a:gd name="connsiteY3" fmla="*/ 9780175 h 9808390"/>
              <a:gd name="connsiteX4" fmla="*/ 6395842 w 10865822"/>
              <a:gd name="connsiteY4" fmla="*/ 0 h 9808390"/>
              <a:gd name="connsiteX0" fmla="*/ 6395842 w 10865822"/>
              <a:gd name="connsiteY0" fmla="*/ 0 h 9808390"/>
              <a:gd name="connsiteX1" fmla="*/ 10849541 w 10865822"/>
              <a:gd name="connsiteY1" fmla="*/ 3695906 h 9808390"/>
              <a:gd name="connsiteX2" fmla="*/ 10865788 w 10865822"/>
              <a:gd name="connsiteY2" fmla="*/ 9808390 h 9808390"/>
              <a:gd name="connsiteX3" fmla="*/ 0 w 10865822"/>
              <a:gd name="connsiteY3" fmla="*/ 9780175 h 9808390"/>
              <a:gd name="connsiteX4" fmla="*/ 6395842 w 10865822"/>
              <a:gd name="connsiteY4" fmla="*/ 0 h 9808390"/>
              <a:gd name="connsiteX0" fmla="*/ 6443467 w 10865822"/>
              <a:gd name="connsiteY0" fmla="*/ 0 h 9760765"/>
              <a:gd name="connsiteX1" fmla="*/ 10849541 w 10865822"/>
              <a:gd name="connsiteY1" fmla="*/ 3648281 h 9760765"/>
              <a:gd name="connsiteX2" fmla="*/ 10865788 w 10865822"/>
              <a:gd name="connsiteY2" fmla="*/ 9760765 h 9760765"/>
              <a:gd name="connsiteX3" fmla="*/ 0 w 10865822"/>
              <a:gd name="connsiteY3" fmla="*/ 9732550 h 9760765"/>
              <a:gd name="connsiteX4" fmla="*/ 6443467 w 10865822"/>
              <a:gd name="connsiteY4" fmla="*/ 0 h 9760765"/>
              <a:gd name="connsiteX0" fmla="*/ 6399017 w 10865822"/>
              <a:gd name="connsiteY0" fmla="*/ 0 h 9802040"/>
              <a:gd name="connsiteX1" fmla="*/ 10849541 w 10865822"/>
              <a:gd name="connsiteY1" fmla="*/ 3689556 h 9802040"/>
              <a:gd name="connsiteX2" fmla="*/ 10865788 w 10865822"/>
              <a:gd name="connsiteY2" fmla="*/ 9802040 h 9802040"/>
              <a:gd name="connsiteX3" fmla="*/ 0 w 10865822"/>
              <a:gd name="connsiteY3" fmla="*/ 9773825 h 9802040"/>
              <a:gd name="connsiteX4" fmla="*/ 6399017 w 10865822"/>
              <a:gd name="connsiteY4" fmla="*/ 0 h 9802040"/>
              <a:gd name="connsiteX0" fmla="*/ 6399017 w 10865822"/>
              <a:gd name="connsiteY0" fmla="*/ 0 h 9802040"/>
              <a:gd name="connsiteX1" fmla="*/ 10849541 w 10865822"/>
              <a:gd name="connsiteY1" fmla="*/ 3689556 h 9802040"/>
              <a:gd name="connsiteX2" fmla="*/ 10865788 w 10865822"/>
              <a:gd name="connsiteY2" fmla="*/ 9802040 h 9802040"/>
              <a:gd name="connsiteX3" fmla="*/ 0 w 10865822"/>
              <a:gd name="connsiteY3" fmla="*/ 9773825 h 9802040"/>
              <a:gd name="connsiteX4" fmla="*/ 6399017 w 10865822"/>
              <a:gd name="connsiteY4" fmla="*/ 0 h 9802040"/>
              <a:gd name="connsiteX0" fmla="*/ 6791036 w 11257841"/>
              <a:gd name="connsiteY0" fmla="*/ 38 h 9802078"/>
              <a:gd name="connsiteX1" fmla="*/ 11241560 w 11257841"/>
              <a:gd name="connsiteY1" fmla="*/ 3689594 h 9802078"/>
              <a:gd name="connsiteX2" fmla="*/ 11257807 w 11257841"/>
              <a:gd name="connsiteY2" fmla="*/ 9802078 h 9802078"/>
              <a:gd name="connsiteX3" fmla="*/ 392019 w 11257841"/>
              <a:gd name="connsiteY3" fmla="*/ 9773863 h 9802078"/>
              <a:gd name="connsiteX4" fmla="*/ 2808197 w 11257841"/>
              <a:gd name="connsiteY4" fmla="*/ 3628916 h 9802078"/>
              <a:gd name="connsiteX5" fmla="*/ 6791036 w 11257841"/>
              <a:gd name="connsiteY5" fmla="*/ 38 h 9802078"/>
              <a:gd name="connsiteX0" fmla="*/ 6793749 w 11260554"/>
              <a:gd name="connsiteY0" fmla="*/ 42 h 9802082"/>
              <a:gd name="connsiteX1" fmla="*/ 11244273 w 11260554"/>
              <a:gd name="connsiteY1" fmla="*/ 3689598 h 9802082"/>
              <a:gd name="connsiteX2" fmla="*/ 11260520 w 11260554"/>
              <a:gd name="connsiteY2" fmla="*/ 9802082 h 9802082"/>
              <a:gd name="connsiteX3" fmla="*/ 394732 w 11260554"/>
              <a:gd name="connsiteY3" fmla="*/ 9773867 h 9802082"/>
              <a:gd name="connsiteX4" fmla="*/ 2784016 w 11260554"/>
              <a:gd name="connsiteY4" fmla="*/ 3400320 h 9802082"/>
              <a:gd name="connsiteX5" fmla="*/ 6793749 w 11260554"/>
              <a:gd name="connsiteY5" fmla="*/ 42 h 9802082"/>
              <a:gd name="connsiteX0" fmla="*/ 6765372 w 11232177"/>
              <a:gd name="connsiteY0" fmla="*/ 42 h 9802082"/>
              <a:gd name="connsiteX1" fmla="*/ 11215896 w 11232177"/>
              <a:gd name="connsiteY1" fmla="*/ 3689598 h 9802082"/>
              <a:gd name="connsiteX2" fmla="*/ 11232143 w 11232177"/>
              <a:gd name="connsiteY2" fmla="*/ 9802082 h 9802082"/>
              <a:gd name="connsiteX3" fmla="*/ 366355 w 11232177"/>
              <a:gd name="connsiteY3" fmla="*/ 9773867 h 9802082"/>
              <a:gd name="connsiteX4" fmla="*/ 2755639 w 11232177"/>
              <a:gd name="connsiteY4" fmla="*/ 3400320 h 9802082"/>
              <a:gd name="connsiteX5" fmla="*/ 6765372 w 11232177"/>
              <a:gd name="connsiteY5" fmla="*/ 42 h 9802082"/>
              <a:gd name="connsiteX0" fmla="*/ 6795460 w 11262265"/>
              <a:gd name="connsiteY0" fmla="*/ 42 h 9802082"/>
              <a:gd name="connsiteX1" fmla="*/ 11245984 w 11262265"/>
              <a:gd name="connsiteY1" fmla="*/ 3689598 h 9802082"/>
              <a:gd name="connsiteX2" fmla="*/ 11262231 w 11262265"/>
              <a:gd name="connsiteY2" fmla="*/ 9802082 h 9802082"/>
              <a:gd name="connsiteX3" fmla="*/ 396443 w 11262265"/>
              <a:gd name="connsiteY3" fmla="*/ 9773867 h 9802082"/>
              <a:gd name="connsiteX4" fmla="*/ 2785727 w 11262265"/>
              <a:gd name="connsiteY4" fmla="*/ 3400320 h 9802082"/>
              <a:gd name="connsiteX5" fmla="*/ 6795460 w 11262265"/>
              <a:gd name="connsiteY5" fmla="*/ 42 h 9802082"/>
              <a:gd name="connsiteX0" fmla="*/ 6726086 w 11192891"/>
              <a:gd name="connsiteY0" fmla="*/ 25 h 9802065"/>
              <a:gd name="connsiteX1" fmla="*/ 11176610 w 11192891"/>
              <a:gd name="connsiteY1" fmla="*/ 3689581 h 9802065"/>
              <a:gd name="connsiteX2" fmla="*/ 11192857 w 11192891"/>
              <a:gd name="connsiteY2" fmla="*/ 9802065 h 9802065"/>
              <a:gd name="connsiteX3" fmla="*/ 327069 w 11192891"/>
              <a:gd name="connsiteY3" fmla="*/ 9773850 h 9802065"/>
              <a:gd name="connsiteX4" fmla="*/ 2716353 w 11192891"/>
              <a:gd name="connsiteY4" fmla="*/ 3400303 h 9802065"/>
              <a:gd name="connsiteX5" fmla="*/ 6726086 w 11192891"/>
              <a:gd name="connsiteY5" fmla="*/ 25 h 9802065"/>
              <a:gd name="connsiteX0" fmla="*/ 6399017 w 10865822"/>
              <a:gd name="connsiteY0" fmla="*/ 25 h 9802065"/>
              <a:gd name="connsiteX1" fmla="*/ 10849541 w 10865822"/>
              <a:gd name="connsiteY1" fmla="*/ 3689581 h 9802065"/>
              <a:gd name="connsiteX2" fmla="*/ 10865788 w 10865822"/>
              <a:gd name="connsiteY2" fmla="*/ 9802065 h 9802065"/>
              <a:gd name="connsiteX3" fmla="*/ 0 w 10865822"/>
              <a:gd name="connsiteY3" fmla="*/ 9773850 h 9802065"/>
              <a:gd name="connsiteX4" fmla="*/ 2389284 w 10865822"/>
              <a:gd name="connsiteY4" fmla="*/ 3400303 h 9802065"/>
              <a:gd name="connsiteX5" fmla="*/ 6399017 w 10865822"/>
              <a:gd name="connsiteY5" fmla="*/ 25 h 9802065"/>
              <a:gd name="connsiteX0" fmla="*/ 6399017 w 10865822"/>
              <a:gd name="connsiteY0" fmla="*/ 25 h 9802065"/>
              <a:gd name="connsiteX1" fmla="*/ 10849541 w 10865822"/>
              <a:gd name="connsiteY1" fmla="*/ 3689581 h 9802065"/>
              <a:gd name="connsiteX2" fmla="*/ 10865788 w 10865822"/>
              <a:gd name="connsiteY2" fmla="*/ 9802065 h 9802065"/>
              <a:gd name="connsiteX3" fmla="*/ 0 w 10865822"/>
              <a:gd name="connsiteY3" fmla="*/ 9773850 h 9802065"/>
              <a:gd name="connsiteX4" fmla="*/ 2389284 w 10865822"/>
              <a:gd name="connsiteY4" fmla="*/ 3400303 h 9802065"/>
              <a:gd name="connsiteX5" fmla="*/ 6399017 w 10865822"/>
              <a:gd name="connsiteY5" fmla="*/ 25 h 9802065"/>
              <a:gd name="connsiteX0" fmla="*/ 6399017 w 10865822"/>
              <a:gd name="connsiteY0" fmla="*/ 28 h 9802068"/>
              <a:gd name="connsiteX1" fmla="*/ 10849541 w 10865822"/>
              <a:gd name="connsiteY1" fmla="*/ 3689584 h 9802068"/>
              <a:gd name="connsiteX2" fmla="*/ 10865788 w 10865822"/>
              <a:gd name="connsiteY2" fmla="*/ 9802068 h 9802068"/>
              <a:gd name="connsiteX3" fmla="*/ 0 w 10865822"/>
              <a:gd name="connsiteY3" fmla="*/ 9773853 h 9802068"/>
              <a:gd name="connsiteX4" fmla="*/ 2732184 w 10865822"/>
              <a:gd name="connsiteY4" fmla="*/ 2956553 h 9802068"/>
              <a:gd name="connsiteX5" fmla="*/ 6399017 w 10865822"/>
              <a:gd name="connsiteY5" fmla="*/ 28 h 9802068"/>
              <a:gd name="connsiteX0" fmla="*/ 6399017 w 10865822"/>
              <a:gd name="connsiteY0" fmla="*/ 16 h 9802056"/>
              <a:gd name="connsiteX1" fmla="*/ 10849541 w 10865822"/>
              <a:gd name="connsiteY1" fmla="*/ 3689572 h 9802056"/>
              <a:gd name="connsiteX2" fmla="*/ 10865788 w 10865822"/>
              <a:gd name="connsiteY2" fmla="*/ 9802056 h 9802056"/>
              <a:gd name="connsiteX3" fmla="*/ 0 w 10865822"/>
              <a:gd name="connsiteY3" fmla="*/ 9773841 h 9802056"/>
              <a:gd name="connsiteX4" fmla="*/ 1374031 w 10865822"/>
              <a:gd name="connsiteY4" fmla="*/ 5134964 h 9802056"/>
              <a:gd name="connsiteX5" fmla="*/ 6399017 w 10865822"/>
              <a:gd name="connsiteY5" fmla="*/ 16 h 9802056"/>
              <a:gd name="connsiteX0" fmla="*/ 6399017 w 10865822"/>
              <a:gd name="connsiteY0" fmla="*/ 16 h 9802056"/>
              <a:gd name="connsiteX1" fmla="*/ 10849541 w 10865822"/>
              <a:gd name="connsiteY1" fmla="*/ 3689572 h 9802056"/>
              <a:gd name="connsiteX2" fmla="*/ 10865788 w 10865822"/>
              <a:gd name="connsiteY2" fmla="*/ 9802056 h 9802056"/>
              <a:gd name="connsiteX3" fmla="*/ 0 w 10865822"/>
              <a:gd name="connsiteY3" fmla="*/ 9773841 h 9802056"/>
              <a:gd name="connsiteX4" fmla="*/ 1374031 w 10865822"/>
              <a:gd name="connsiteY4" fmla="*/ 5134964 h 9802056"/>
              <a:gd name="connsiteX5" fmla="*/ 6399017 w 10865822"/>
              <a:gd name="connsiteY5" fmla="*/ 16 h 9802056"/>
              <a:gd name="connsiteX0" fmla="*/ 6382452 w 10849257"/>
              <a:gd name="connsiteY0" fmla="*/ 21 h 9802061"/>
              <a:gd name="connsiteX1" fmla="*/ 10832976 w 10849257"/>
              <a:gd name="connsiteY1" fmla="*/ 3689577 h 9802061"/>
              <a:gd name="connsiteX2" fmla="*/ 10849223 w 10849257"/>
              <a:gd name="connsiteY2" fmla="*/ 9802061 h 9802061"/>
              <a:gd name="connsiteX3" fmla="*/ 0 w 10849257"/>
              <a:gd name="connsiteY3" fmla="*/ 9773846 h 9802061"/>
              <a:gd name="connsiteX4" fmla="*/ 1357466 w 10849257"/>
              <a:gd name="connsiteY4" fmla="*/ 5134969 h 9802061"/>
              <a:gd name="connsiteX5" fmla="*/ 6382452 w 10849257"/>
              <a:gd name="connsiteY5" fmla="*/ 21 h 9802061"/>
              <a:gd name="connsiteX0" fmla="*/ 6382452 w 10849257"/>
              <a:gd name="connsiteY0" fmla="*/ 21 h 9802061"/>
              <a:gd name="connsiteX1" fmla="*/ 10832976 w 10849257"/>
              <a:gd name="connsiteY1" fmla="*/ 3689577 h 9802061"/>
              <a:gd name="connsiteX2" fmla="*/ 10849223 w 10849257"/>
              <a:gd name="connsiteY2" fmla="*/ 9802061 h 9802061"/>
              <a:gd name="connsiteX3" fmla="*/ 0 w 10849257"/>
              <a:gd name="connsiteY3" fmla="*/ 9773846 h 9802061"/>
              <a:gd name="connsiteX4" fmla="*/ 1357466 w 10849257"/>
              <a:gd name="connsiteY4" fmla="*/ 5134969 h 9802061"/>
              <a:gd name="connsiteX5" fmla="*/ 6382452 w 10849257"/>
              <a:gd name="connsiteY5" fmla="*/ 21 h 9802061"/>
              <a:gd name="connsiteX0" fmla="*/ 6382452 w 10849257"/>
              <a:gd name="connsiteY0" fmla="*/ 16 h 9802056"/>
              <a:gd name="connsiteX1" fmla="*/ 10832976 w 10849257"/>
              <a:gd name="connsiteY1" fmla="*/ 3689572 h 9802056"/>
              <a:gd name="connsiteX2" fmla="*/ 10849223 w 10849257"/>
              <a:gd name="connsiteY2" fmla="*/ 9802056 h 9802056"/>
              <a:gd name="connsiteX3" fmla="*/ 0 w 10849257"/>
              <a:gd name="connsiteY3" fmla="*/ 9773841 h 9802056"/>
              <a:gd name="connsiteX4" fmla="*/ 1357466 w 10849257"/>
              <a:gd name="connsiteY4" fmla="*/ 5134964 h 9802056"/>
              <a:gd name="connsiteX5" fmla="*/ 6382452 w 10849257"/>
              <a:gd name="connsiteY5" fmla="*/ 16 h 9802056"/>
              <a:gd name="connsiteX0" fmla="*/ 6382452 w 10849257"/>
              <a:gd name="connsiteY0" fmla="*/ 16 h 9802056"/>
              <a:gd name="connsiteX1" fmla="*/ 10832976 w 10849257"/>
              <a:gd name="connsiteY1" fmla="*/ 3689572 h 9802056"/>
              <a:gd name="connsiteX2" fmla="*/ 10849223 w 10849257"/>
              <a:gd name="connsiteY2" fmla="*/ 9802056 h 9802056"/>
              <a:gd name="connsiteX3" fmla="*/ 0 w 10849257"/>
              <a:gd name="connsiteY3" fmla="*/ 9773841 h 9802056"/>
              <a:gd name="connsiteX4" fmla="*/ 1364092 w 10849257"/>
              <a:gd name="connsiteY4" fmla="*/ 5171407 h 9802056"/>
              <a:gd name="connsiteX5" fmla="*/ 6382452 w 10849257"/>
              <a:gd name="connsiteY5" fmla="*/ 16 h 9802056"/>
              <a:gd name="connsiteX0" fmla="*/ 6382452 w 10849257"/>
              <a:gd name="connsiteY0" fmla="*/ 16 h 9802056"/>
              <a:gd name="connsiteX1" fmla="*/ 10832976 w 10849257"/>
              <a:gd name="connsiteY1" fmla="*/ 3689572 h 9802056"/>
              <a:gd name="connsiteX2" fmla="*/ 10849223 w 10849257"/>
              <a:gd name="connsiteY2" fmla="*/ 9802056 h 9802056"/>
              <a:gd name="connsiteX3" fmla="*/ 0 w 10849257"/>
              <a:gd name="connsiteY3" fmla="*/ 9773841 h 9802056"/>
              <a:gd name="connsiteX4" fmla="*/ 1364092 w 10849257"/>
              <a:gd name="connsiteY4" fmla="*/ 5171407 h 9802056"/>
              <a:gd name="connsiteX5" fmla="*/ 6382452 w 10849257"/>
              <a:gd name="connsiteY5" fmla="*/ 16 h 9802056"/>
              <a:gd name="connsiteX0" fmla="*/ 6382452 w 10849257"/>
              <a:gd name="connsiteY0" fmla="*/ 16 h 9802056"/>
              <a:gd name="connsiteX1" fmla="*/ 10832976 w 10849257"/>
              <a:gd name="connsiteY1" fmla="*/ 3689572 h 9802056"/>
              <a:gd name="connsiteX2" fmla="*/ 10849223 w 10849257"/>
              <a:gd name="connsiteY2" fmla="*/ 9802056 h 9802056"/>
              <a:gd name="connsiteX3" fmla="*/ 0 w 10849257"/>
              <a:gd name="connsiteY3" fmla="*/ 9773841 h 9802056"/>
              <a:gd name="connsiteX4" fmla="*/ 1364092 w 10849257"/>
              <a:gd name="connsiteY4" fmla="*/ 5171407 h 9802056"/>
              <a:gd name="connsiteX5" fmla="*/ 6382452 w 10849257"/>
              <a:gd name="connsiteY5" fmla="*/ 16 h 9802056"/>
              <a:gd name="connsiteX0" fmla="*/ 6382452 w 10849257"/>
              <a:gd name="connsiteY0" fmla="*/ 16 h 9802056"/>
              <a:gd name="connsiteX1" fmla="*/ 10832976 w 10849257"/>
              <a:gd name="connsiteY1" fmla="*/ 3689572 h 9802056"/>
              <a:gd name="connsiteX2" fmla="*/ 10849223 w 10849257"/>
              <a:gd name="connsiteY2" fmla="*/ 9802056 h 9802056"/>
              <a:gd name="connsiteX3" fmla="*/ 0 w 10849257"/>
              <a:gd name="connsiteY3" fmla="*/ 9773841 h 9802056"/>
              <a:gd name="connsiteX4" fmla="*/ 1367405 w 10849257"/>
              <a:gd name="connsiteY4" fmla="*/ 5154842 h 9802056"/>
              <a:gd name="connsiteX5" fmla="*/ 6382452 w 10849257"/>
              <a:gd name="connsiteY5" fmla="*/ 16 h 9802056"/>
              <a:gd name="connsiteX0" fmla="*/ 6382452 w 10849257"/>
              <a:gd name="connsiteY0" fmla="*/ 16 h 9802056"/>
              <a:gd name="connsiteX1" fmla="*/ 10832976 w 10849257"/>
              <a:gd name="connsiteY1" fmla="*/ 3689572 h 9802056"/>
              <a:gd name="connsiteX2" fmla="*/ 10849223 w 10849257"/>
              <a:gd name="connsiteY2" fmla="*/ 9802056 h 9802056"/>
              <a:gd name="connsiteX3" fmla="*/ 0 w 10849257"/>
              <a:gd name="connsiteY3" fmla="*/ 9773841 h 9802056"/>
              <a:gd name="connsiteX4" fmla="*/ 1367405 w 10849257"/>
              <a:gd name="connsiteY4" fmla="*/ 5154842 h 9802056"/>
              <a:gd name="connsiteX5" fmla="*/ 6382452 w 10849257"/>
              <a:gd name="connsiteY5" fmla="*/ 16 h 9802056"/>
              <a:gd name="connsiteX0" fmla="*/ 6382452 w 10849257"/>
              <a:gd name="connsiteY0" fmla="*/ 0 h 9802040"/>
              <a:gd name="connsiteX1" fmla="*/ 10832976 w 10849257"/>
              <a:gd name="connsiteY1" fmla="*/ 3689556 h 9802040"/>
              <a:gd name="connsiteX2" fmla="*/ 10849223 w 10849257"/>
              <a:gd name="connsiteY2" fmla="*/ 9802040 h 9802040"/>
              <a:gd name="connsiteX3" fmla="*/ 0 w 10849257"/>
              <a:gd name="connsiteY3" fmla="*/ 9773825 h 9802040"/>
              <a:gd name="connsiteX4" fmla="*/ 1367405 w 10849257"/>
              <a:gd name="connsiteY4" fmla="*/ 5154826 h 9802040"/>
              <a:gd name="connsiteX5" fmla="*/ 6382452 w 10849257"/>
              <a:gd name="connsiteY5" fmla="*/ 0 h 9802040"/>
              <a:gd name="connsiteX0" fmla="*/ 6385627 w 10849257"/>
              <a:gd name="connsiteY0" fmla="*/ 0 h 9836965"/>
              <a:gd name="connsiteX1" fmla="*/ 10832976 w 10849257"/>
              <a:gd name="connsiteY1" fmla="*/ 3724481 h 9836965"/>
              <a:gd name="connsiteX2" fmla="*/ 10849223 w 10849257"/>
              <a:gd name="connsiteY2" fmla="*/ 9836965 h 9836965"/>
              <a:gd name="connsiteX3" fmla="*/ 0 w 10849257"/>
              <a:gd name="connsiteY3" fmla="*/ 9808750 h 9836965"/>
              <a:gd name="connsiteX4" fmla="*/ 1367405 w 10849257"/>
              <a:gd name="connsiteY4" fmla="*/ 5189751 h 9836965"/>
              <a:gd name="connsiteX5" fmla="*/ 6385627 w 10849257"/>
              <a:gd name="connsiteY5" fmla="*/ 0 h 9836965"/>
              <a:gd name="connsiteX0" fmla="*/ 6385627 w 10849257"/>
              <a:gd name="connsiteY0" fmla="*/ 0 h 9805215"/>
              <a:gd name="connsiteX1" fmla="*/ 10832976 w 10849257"/>
              <a:gd name="connsiteY1" fmla="*/ 3692731 h 9805215"/>
              <a:gd name="connsiteX2" fmla="*/ 10849223 w 10849257"/>
              <a:gd name="connsiteY2" fmla="*/ 9805215 h 9805215"/>
              <a:gd name="connsiteX3" fmla="*/ 0 w 10849257"/>
              <a:gd name="connsiteY3" fmla="*/ 9777000 h 9805215"/>
              <a:gd name="connsiteX4" fmla="*/ 1367405 w 10849257"/>
              <a:gd name="connsiteY4" fmla="*/ 5158001 h 9805215"/>
              <a:gd name="connsiteX5" fmla="*/ 6385627 w 10849257"/>
              <a:gd name="connsiteY5" fmla="*/ 0 h 9805215"/>
              <a:gd name="connsiteX0" fmla="*/ 6385627 w 10849257"/>
              <a:gd name="connsiteY0" fmla="*/ 0 h 9805215"/>
              <a:gd name="connsiteX1" fmla="*/ 10832976 w 10849257"/>
              <a:gd name="connsiteY1" fmla="*/ 3692731 h 9805215"/>
              <a:gd name="connsiteX2" fmla="*/ 10849223 w 10849257"/>
              <a:gd name="connsiteY2" fmla="*/ 9805215 h 9805215"/>
              <a:gd name="connsiteX3" fmla="*/ 0 w 10849257"/>
              <a:gd name="connsiteY3" fmla="*/ 9777000 h 9805215"/>
              <a:gd name="connsiteX4" fmla="*/ 1367405 w 10849257"/>
              <a:gd name="connsiteY4" fmla="*/ 5158001 h 9805215"/>
              <a:gd name="connsiteX5" fmla="*/ 6385627 w 10849257"/>
              <a:gd name="connsiteY5" fmla="*/ 0 h 9805215"/>
              <a:gd name="connsiteX0" fmla="*/ 6385627 w 10849257"/>
              <a:gd name="connsiteY0" fmla="*/ 10169 h 9815384"/>
              <a:gd name="connsiteX1" fmla="*/ 10832976 w 10849257"/>
              <a:gd name="connsiteY1" fmla="*/ 3702900 h 9815384"/>
              <a:gd name="connsiteX2" fmla="*/ 10849223 w 10849257"/>
              <a:gd name="connsiteY2" fmla="*/ 9815384 h 9815384"/>
              <a:gd name="connsiteX3" fmla="*/ 0 w 10849257"/>
              <a:gd name="connsiteY3" fmla="*/ 9787169 h 9815384"/>
              <a:gd name="connsiteX4" fmla="*/ 1367405 w 10849257"/>
              <a:gd name="connsiteY4" fmla="*/ 5168170 h 9815384"/>
              <a:gd name="connsiteX5" fmla="*/ 2996796 w 10849257"/>
              <a:gd name="connsiteY5" fmla="*/ 2687524 h 9815384"/>
              <a:gd name="connsiteX6" fmla="*/ 6385627 w 10849257"/>
              <a:gd name="connsiteY6" fmla="*/ 10169 h 9815384"/>
              <a:gd name="connsiteX0" fmla="*/ 6385627 w 10849257"/>
              <a:gd name="connsiteY0" fmla="*/ 14246 h 9819461"/>
              <a:gd name="connsiteX1" fmla="*/ 10832976 w 10849257"/>
              <a:gd name="connsiteY1" fmla="*/ 3706977 h 9819461"/>
              <a:gd name="connsiteX2" fmla="*/ 10849223 w 10849257"/>
              <a:gd name="connsiteY2" fmla="*/ 9819461 h 9819461"/>
              <a:gd name="connsiteX3" fmla="*/ 0 w 10849257"/>
              <a:gd name="connsiteY3" fmla="*/ 9791246 h 9819461"/>
              <a:gd name="connsiteX4" fmla="*/ 1367405 w 10849257"/>
              <a:gd name="connsiteY4" fmla="*/ 5172247 h 9819461"/>
              <a:gd name="connsiteX5" fmla="*/ 3516749 w 10849257"/>
              <a:gd name="connsiteY5" fmla="*/ 2082001 h 9819461"/>
              <a:gd name="connsiteX6" fmla="*/ 6385627 w 10849257"/>
              <a:gd name="connsiteY6" fmla="*/ 14246 h 9819461"/>
              <a:gd name="connsiteX0" fmla="*/ 6385627 w 10849257"/>
              <a:gd name="connsiteY0" fmla="*/ 14246 h 9819461"/>
              <a:gd name="connsiteX1" fmla="*/ 10832976 w 10849257"/>
              <a:gd name="connsiteY1" fmla="*/ 3706977 h 9819461"/>
              <a:gd name="connsiteX2" fmla="*/ 10849223 w 10849257"/>
              <a:gd name="connsiteY2" fmla="*/ 9819461 h 9819461"/>
              <a:gd name="connsiteX3" fmla="*/ 0 w 10849257"/>
              <a:gd name="connsiteY3" fmla="*/ 9791246 h 9819461"/>
              <a:gd name="connsiteX4" fmla="*/ 928135 w 10849257"/>
              <a:gd name="connsiteY4" fmla="*/ 6167330 h 9819461"/>
              <a:gd name="connsiteX5" fmla="*/ 3516749 w 10849257"/>
              <a:gd name="connsiteY5" fmla="*/ 2082001 h 9819461"/>
              <a:gd name="connsiteX6" fmla="*/ 6385627 w 10849257"/>
              <a:gd name="connsiteY6" fmla="*/ 14246 h 9819461"/>
              <a:gd name="connsiteX0" fmla="*/ 6385627 w 10849257"/>
              <a:gd name="connsiteY0" fmla="*/ 14246 h 9819461"/>
              <a:gd name="connsiteX1" fmla="*/ 10832976 w 10849257"/>
              <a:gd name="connsiteY1" fmla="*/ 3706977 h 9819461"/>
              <a:gd name="connsiteX2" fmla="*/ 10849223 w 10849257"/>
              <a:gd name="connsiteY2" fmla="*/ 9819461 h 9819461"/>
              <a:gd name="connsiteX3" fmla="*/ 0 w 10849257"/>
              <a:gd name="connsiteY3" fmla="*/ 9791246 h 9819461"/>
              <a:gd name="connsiteX4" fmla="*/ 928135 w 10849257"/>
              <a:gd name="connsiteY4" fmla="*/ 6167330 h 9819461"/>
              <a:gd name="connsiteX5" fmla="*/ 3516749 w 10849257"/>
              <a:gd name="connsiteY5" fmla="*/ 2082001 h 9819461"/>
              <a:gd name="connsiteX6" fmla="*/ 6385627 w 10849257"/>
              <a:gd name="connsiteY6" fmla="*/ 14246 h 9819461"/>
              <a:gd name="connsiteX0" fmla="*/ 6385627 w 10849257"/>
              <a:gd name="connsiteY0" fmla="*/ 14246 h 9819461"/>
              <a:gd name="connsiteX1" fmla="*/ 10832976 w 10849257"/>
              <a:gd name="connsiteY1" fmla="*/ 3706977 h 9819461"/>
              <a:gd name="connsiteX2" fmla="*/ 10849223 w 10849257"/>
              <a:gd name="connsiteY2" fmla="*/ 9819461 h 9819461"/>
              <a:gd name="connsiteX3" fmla="*/ 0 w 10849257"/>
              <a:gd name="connsiteY3" fmla="*/ 9791246 h 9819461"/>
              <a:gd name="connsiteX4" fmla="*/ 928135 w 10849257"/>
              <a:gd name="connsiteY4" fmla="*/ 6167330 h 9819461"/>
              <a:gd name="connsiteX5" fmla="*/ 3516749 w 10849257"/>
              <a:gd name="connsiteY5" fmla="*/ 2082001 h 9819461"/>
              <a:gd name="connsiteX6" fmla="*/ 6385627 w 10849257"/>
              <a:gd name="connsiteY6" fmla="*/ 14246 h 9819461"/>
              <a:gd name="connsiteX0" fmla="*/ 6385627 w 10849257"/>
              <a:gd name="connsiteY0" fmla="*/ 14246 h 9819461"/>
              <a:gd name="connsiteX1" fmla="*/ 10832976 w 10849257"/>
              <a:gd name="connsiteY1" fmla="*/ 3706977 h 9819461"/>
              <a:gd name="connsiteX2" fmla="*/ 10849223 w 10849257"/>
              <a:gd name="connsiteY2" fmla="*/ 9819461 h 9819461"/>
              <a:gd name="connsiteX3" fmla="*/ 0 w 10849257"/>
              <a:gd name="connsiteY3" fmla="*/ 9791246 h 9819461"/>
              <a:gd name="connsiteX4" fmla="*/ 921785 w 10849257"/>
              <a:gd name="connsiteY4" fmla="*/ 6205430 h 9819461"/>
              <a:gd name="connsiteX5" fmla="*/ 3516749 w 10849257"/>
              <a:gd name="connsiteY5" fmla="*/ 2082001 h 9819461"/>
              <a:gd name="connsiteX6" fmla="*/ 6385627 w 10849257"/>
              <a:gd name="connsiteY6" fmla="*/ 14246 h 9819461"/>
              <a:gd name="connsiteX0" fmla="*/ 6385627 w 10849257"/>
              <a:gd name="connsiteY0" fmla="*/ 14246 h 9819461"/>
              <a:gd name="connsiteX1" fmla="*/ 10832976 w 10849257"/>
              <a:gd name="connsiteY1" fmla="*/ 3706977 h 9819461"/>
              <a:gd name="connsiteX2" fmla="*/ 10849223 w 10849257"/>
              <a:gd name="connsiteY2" fmla="*/ 9819461 h 9819461"/>
              <a:gd name="connsiteX3" fmla="*/ 0 w 10849257"/>
              <a:gd name="connsiteY3" fmla="*/ 9791246 h 9819461"/>
              <a:gd name="connsiteX4" fmla="*/ 921785 w 10849257"/>
              <a:gd name="connsiteY4" fmla="*/ 6205430 h 9819461"/>
              <a:gd name="connsiteX5" fmla="*/ 3516749 w 10849257"/>
              <a:gd name="connsiteY5" fmla="*/ 2082001 h 9819461"/>
              <a:gd name="connsiteX6" fmla="*/ 6385627 w 10849257"/>
              <a:gd name="connsiteY6" fmla="*/ 14246 h 9819461"/>
              <a:gd name="connsiteX0" fmla="*/ 6385627 w 10849257"/>
              <a:gd name="connsiteY0" fmla="*/ 14246 h 9819461"/>
              <a:gd name="connsiteX1" fmla="*/ 10832976 w 10849257"/>
              <a:gd name="connsiteY1" fmla="*/ 3706977 h 9819461"/>
              <a:gd name="connsiteX2" fmla="*/ 10849223 w 10849257"/>
              <a:gd name="connsiteY2" fmla="*/ 9819461 h 9819461"/>
              <a:gd name="connsiteX3" fmla="*/ 0 w 10849257"/>
              <a:gd name="connsiteY3" fmla="*/ 9791246 h 9819461"/>
              <a:gd name="connsiteX4" fmla="*/ 921785 w 10849257"/>
              <a:gd name="connsiteY4" fmla="*/ 6205430 h 9819461"/>
              <a:gd name="connsiteX5" fmla="*/ 3516749 w 10849257"/>
              <a:gd name="connsiteY5" fmla="*/ 2082001 h 9819461"/>
              <a:gd name="connsiteX6" fmla="*/ 6385627 w 10849257"/>
              <a:gd name="connsiteY6" fmla="*/ 14246 h 9819461"/>
              <a:gd name="connsiteX0" fmla="*/ 6385627 w 10849257"/>
              <a:gd name="connsiteY0" fmla="*/ 14246 h 9819461"/>
              <a:gd name="connsiteX1" fmla="*/ 10832976 w 10849257"/>
              <a:gd name="connsiteY1" fmla="*/ 3706977 h 9819461"/>
              <a:gd name="connsiteX2" fmla="*/ 10849223 w 10849257"/>
              <a:gd name="connsiteY2" fmla="*/ 9819461 h 9819461"/>
              <a:gd name="connsiteX3" fmla="*/ 0 w 10849257"/>
              <a:gd name="connsiteY3" fmla="*/ 9791246 h 9819461"/>
              <a:gd name="connsiteX4" fmla="*/ 921785 w 10849257"/>
              <a:gd name="connsiteY4" fmla="*/ 6205430 h 9819461"/>
              <a:gd name="connsiteX5" fmla="*/ 3516749 w 10849257"/>
              <a:gd name="connsiteY5" fmla="*/ 2082001 h 9819461"/>
              <a:gd name="connsiteX6" fmla="*/ 6385627 w 10849257"/>
              <a:gd name="connsiteY6" fmla="*/ 14246 h 9819461"/>
              <a:gd name="connsiteX0" fmla="*/ 6385627 w 10849257"/>
              <a:gd name="connsiteY0" fmla="*/ 14246 h 9819461"/>
              <a:gd name="connsiteX1" fmla="*/ 10832976 w 10849257"/>
              <a:gd name="connsiteY1" fmla="*/ 3706977 h 9819461"/>
              <a:gd name="connsiteX2" fmla="*/ 10849223 w 10849257"/>
              <a:gd name="connsiteY2" fmla="*/ 9819461 h 9819461"/>
              <a:gd name="connsiteX3" fmla="*/ 0 w 10849257"/>
              <a:gd name="connsiteY3" fmla="*/ 9791246 h 9819461"/>
              <a:gd name="connsiteX4" fmla="*/ 921785 w 10849257"/>
              <a:gd name="connsiteY4" fmla="*/ 6205430 h 9819461"/>
              <a:gd name="connsiteX5" fmla="*/ 3516749 w 10849257"/>
              <a:gd name="connsiteY5" fmla="*/ 2082001 h 9819461"/>
              <a:gd name="connsiteX6" fmla="*/ 6385627 w 10849257"/>
              <a:gd name="connsiteY6" fmla="*/ 14246 h 9819461"/>
              <a:gd name="connsiteX0" fmla="*/ 6385627 w 10849257"/>
              <a:gd name="connsiteY0" fmla="*/ 0 h 9805215"/>
              <a:gd name="connsiteX1" fmla="*/ 10832976 w 10849257"/>
              <a:gd name="connsiteY1" fmla="*/ 3692731 h 9805215"/>
              <a:gd name="connsiteX2" fmla="*/ 10849223 w 10849257"/>
              <a:gd name="connsiteY2" fmla="*/ 9805215 h 9805215"/>
              <a:gd name="connsiteX3" fmla="*/ 0 w 10849257"/>
              <a:gd name="connsiteY3" fmla="*/ 9777000 h 9805215"/>
              <a:gd name="connsiteX4" fmla="*/ 921785 w 10849257"/>
              <a:gd name="connsiteY4" fmla="*/ 6191184 h 9805215"/>
              <a:gd name="connsiteX5" fmla="*/ 3516749 w 10849257"/>
              <a:gd name="connsiteY5" fmla="*/ 2067755 h 9805215"/>
              <a:gd name="connsiteX6" fmla="*/ 6385627 w 10849257"/>
              <a:gd name="connsiteY6" fmla="*/ 0 h 9805215"/>
              <a:gd name="connsiteX0" fmla="*/ 6385627 w 10849257"/>
              <a:gd name="connsiteY0" fmla="*/ 0 h 9805215"/>
              <a:gd name="connsiteX1" fmla="*/ 10832976 w 10849257"/>
              <a:gd name="connsiteY1" fmla="*/ 3692731 h 9805215"/>
              <a:gd name="connsiteX2" fmla="*/ 10849223 w 10849257"/>
              <a:gd name="connsiteY2" fmla="*/ 9805215 h 9805215"/>
              <a:gd name="connsiteX3" fmla="*/ 0 w 10849257"/>
              <a:gd name="connsiteY3" fmla="*/ 9777000 h 9805215"/>
              <a:gd name="connsiteX4" fmla="*/ 921785 w 10849257"/>
              <a:gd name="connsiteY4" fmla="*/ 6191184 h 9805215"/>
              <a:gd name="connsiteX5" fmla="*/ 3516749 w 10849257"/>
              <a:gd name="connsiteY5" fmla="*/ 2067755 h 9805215"/>
              <a:gd name="connsiteX6" fmla="*/ 6385627 w 10849257"/>
              <a:gd name="connsiteY6" fmla="*/ 0 h 9805215"/>
              <a:gd name="connsiteX0" fmla="*/ 6385627 w 10849257"/>
              <a:gd name="connsiteY0" fmla="*/ 0 h 9805215"/>
              <a:gd name="connsiteX1" fmla="*/ 10832976 w 10849257"/>
              <a:gd name="connsiteY1" fmla="*/ 3692731 h 9805215"/>
              <a:gd name="connsiteX2" fmla="*/ 10849223 w 10849257"/>
              <a:gd name="connsiteY2" fmla="*/ 9805215 h 9805215"/>
              <a:gd name="connsiteX3" fmla="*/ 0 w 10849257"/>
              <a:gd name="connsiteY3" fmla="*/ 9777000 h 9805215"/>
              <a:gd name="connsiteX4" fmla="*/ 924960 w 10849257"/>
              <a:gd name="connsiteY4" fmla="*/ 6172134 h 9805215"/>
              <a:gd name="connsiteX5" fmla="*/ 3516749 w 10849257"/>
              <a:gd name="connsiteY5" fmla="*/ 2067755 h 9805215"/>
              <a:gd name="connsiteX6" fmla="*/ 6385627 w 10849257"/>
              <a:gd name="connsiteY6" fmla="*/ 0 h 9805215"/>
              <a:gd name="connsiteX0" fmla="*/ 6385627 w 10849257"/>
              <a:gd name="connsiteY0" fmla="*/ 0 h 9805215"/>
              <a:gd name="connsiteX1" fmla="*/ 10832976 w 10849257"/>
              <a:gd name="connsiteY1" fmla="*/ 3692731 h 9805215"/>
              <a:gd name="connsiteX2" fmla="*/ 10849223 w 10849257"/>
              <a:gd name="connsiteY2" fmla="*/ 9805215 h 9805215"/>
              <a:gd name="connsiteX3" fmla="*/ 0 w 10849257"/>
              <a:gd name="connsiteY3" fmla="*/ 9777000 h 9805215"/>
              <a:gd name="connsiteX4" fmla="*/ 924960 w 10849257"/>
              <a:gd name="connsiteY4" fmla="*/ 6172134 h 9805215"/>
              <a:gd name="connsiteX5" fmla="*/ 3526274 w 10849257"/>
              <a:gd name="connsiteY5" fmla="*/ 2070930 h 9805215"/>
              <a:gd name="connsiteX6" fmla="*/ 6385627 w 10849257"/>
              <a:gd name="connsiteY6" fmla="*/ 0 h 9805215"/>
              <a:gd name="connsiteX0" fmla="*/ 6385627 w 10849257"/>
              <a:gd name="connsiteY0" fmla="*/ 0 h 9805215"/>
              <a:gd name="connsiteX1" fmla="*/ 10832976 w 10849257"/>
              <a:gd name="connsiteY1" fmla="*/ 3692731 h 9805215"/>
              <a:gd name="connsiteX2" fmla="*/ 10849223 w 10849257"/>
              <a:gd name="connsiteY2" fmla="*/ 9805215 h 9805215"/>
              <a:gd name="connsiteX3" fmla="*/ 0 w 10849257"/>
              <a:gd name="connsiteY3" fmla="*/ 9777000 h 9805215"/>
              <a:gd name="connsiteX4" fmla="*/ 924960 w 10849257"/>
              <a:gd name="connsiteY4" fmla="*/ 6172134 h 9805215"/>
              <a:gd name="connsiteX5" fmla="*/ 3526274 w 10849257"/>
              <a:gd name="connsiteY5" fmla="*/ 2070930 h 9805215"/>
              <a:gd name="connsiteX6" fmla="*/ 6385627 w 10849257"/>
              <a:gd name="connsiteY6" fmla="*/ 0 h 9805215"/>
              <a:gd name="connsiteX0" fmla="*/ 6385627 w 10849257"/>
              <a:gd name="connsiteY0" fmla="*/ 0 h 9805215"/>
              <a:gd name="connsiteX1" fmla="*/ 10832976 w 10849257"/>
              <a:gd name="connsiteY1" fmla="*/ 3692731 h 9805215"/>
              <a:gd name="connsiteX2" fmla="*/ 10849223 w 10849257"/>
              <a:gd name="connsiteY2" fmla="*/ 9805215 h 9805215"/>
              <a:gd name="connsiteX3" fmla="*/ 0 w 10849257"/>
              <a:gd name="connsiteY3" fmla="*/ 9777000 h 9805215"/>
              <a:gd name="connsiteX4" fmla="*/ 924960 w 10849257"/>
              <a:gd name="connsiteY4" fmla="*/ 6172134 h 9805215"/>
              <a:gd name="connsiteX5" fmla="*/ 3532624 w 10849257"/>
              <a:gd name="connsiteY5" fmla="*/ 2055055 h 9805215"/>
              <a:gd name="connsiteX6" fmla="*/ 6385627 w 10849257"/>
              <a:gd name="connsiteY6" fmla="*/ 0 h 9805215"/>
              <a:gd name="connsiteX0" fmla="*/ 6385627 w 10849257"/>
              <a:gd name="connsiteY0" fmla="*/ 0 h 9805215"/>
              <a:gd name="connsiteX1" fmla="*/ 10832976 w 10849257"/>
              <a:gd name="connsiteY1" fmla="*/ 3692731 h 9805215"/>
              <a:gd name="connsiteX2" fmla="*/ 10849223 w 10849257"/>
              <a:gd name="connsiteY2" fmla="*/ 9805215 h 9805215"/>
              <a:gd name="connsiteX3" fmla="*/ 0 w 10849257"/>
              <a:gd name="connsiteY3" fmla="*/ 9777000 h 9805215"/>
              <a:gd name="connsiteX4" fmla="*/ 924960 w 10849257"/>
              <a:gd name="connsiteY4" fmla="*/ 6172134 h 9805215"/>
              <a:gd name="connsiteX5" fmla="*/ 3532624 w 10849257"/>
              <a:gd name="connsiteY5" fmla="*/ 2055055 h 9805215"/>
              <a:gd name="connsiteX6" fmla="*/ 6385627 w 10849257"/>
              <a:gd name="connsiteY6" fmla="*/ 0 h 9805215"/>
              <a:gd name="connsiteX0" fmla="*/ 6385627 w 10849257"/>
              <a:gd name="connsiteY0" fmla="*/ 0 h 9805215"/>
              <a:gd name="connsiteX1" fmla="*/ 10832976 w 10849257"/>
              <a:gd name="connsiteY1" fmla="*/ 3692731 h 9805215"/>
              <a:gd name="connsiteX2" fmla="*/ 10849223 w 10849257"/>
              <a:gd name="connsiteY2" fmla="*/ 9805215 h 9805215"/>
              <a:gd name="connsiteX3" fmla="*/ 0 w 10849257"/>
              <a:gd name="connsiteY3" fmla="*/ 9777000 h 9805215"/>
              <a:gd name="connsiteX4" fmla="*/ 924960 w 10849257"/>
              <a:gd name="connsiteY4" fmla="*/ 6172134 h 9805215"/>
              <a:gd name="connsiteX5" fmla="*/ 3532624 w 10849257"/>
              <a:gd name="connsiteY5" fmla="*/ 2055055 h 9805215"/>
              <a:gd name="connsiteX6" fmla="*/ 6385627 w 10849257"/>
              <a:gd name="connsiteY6" fmla="*/ 0 h 9805215"/>
              <a:gd name="connsiteX0" fmla="*/ 6385627 w 10849257"/>
              <a:gd name="connsiteY0" fmla="*/ 0 h 9805215"/>
              <a:gd name="connsiteX1" fmla="*/ 10832976 w 10849257"/>
              <a:gd name="connsiteY1" fmla="*/ 3692731 h 9805215"/>
              <a:gd name="connsiteX2" fmla="*/ 10849223 w 10849257"/>
              <a:gd name="connsiteY2" fmla="*/ 9805215 h 9805215"/>
              <a:gd name="connsiteX3" fmla="*/ 0 w 10849257"/>
              <a:gd name="connsiteY3" fmla="*/ 9777000 h 9805215"/>
              <a:gd name="connsiteX4" fmla="*/ 924960 w 10849257"/>
              <a:gd name="connsiteY4" fmla="*/ 6172134 h 9805215"/>
              <a:gd name="connsiteX5" fmla="*/ 3532624 w 10849257"/>
              <a:gd name="connsiteY5" fmla="*/ 2055055 h 9805215"/>
              <a:gd name="connsiteX6" fmla="*/ 6385627 w 10849257"/>
              <a:gd name="connsiteY6" fmla="*/ 0 h 9805215"/>
              <a:gd name="connsiteX0" fmla="*/ 6391977 w 10855607"/>
              <a:gd name="connsiteY0" fmla="*/ 0 h 9805215"/>
              <a:gd name="connsiteX1" fmla="*/ 10839326 w 10855607"/>
              <a:gd name="connsiteY1" fmla="*/ 3692731 h 9805215"/>
              <a:gd name="connsiteX2" fmla="*/ 10855573 w 10855607"/>
              <a:gd name="connsiteY2" fmla="*/ 9805215 h 9805215"/>
              <a:gd name="connsiteX3" fmla="*/ 0 w 10855607"/>
              <a:gd name="connsiteY3" fmla="*/ 9770650 h 9805215"/>
              <a:gd name="connsiteX4" fmla="*/ 931310 w 10855607"/>
              <a:gd name="connsiteY4" fmla="*/ 6172134 h 9805215"/>
              <a:gd name="connsiteX5" fmla="*/ 3538974 w 10855607"/>
              <a:gd name="connsiteY5" fmla="*/ 2055055 h 9805215"/>
              <a:gd name="connsiteX6" fmla="*/ 6391977 w 10855607"/>
              <a:gd name="connsiteY6" fmla="*/ 0 h 9805215"/>
              <a:gd name="connsiteX0" fmla="*/ 6391977 w 10855607"/>
              <a:gd name="connsiteY0" fmla="*/ 0 h 9805215"/>
              <a:gd name="connsiteX1" fmla="*/ 10839326 w 10855607"/>
              <a:gd name="connsiteY1" fmla="*/ 3692731 h 9805215"/>
              <a:gd name="connsiteX2" fmla="*/ 10855573 w 10855607"/>
              <a:gd name="connsiteY2" fmla="*/ 9805215 h 9805215"/>
              <a:gd name="connsiteX3" fmla="*/ 0 w 10855607"/>
              <a:gd name="connsiteY3" fmla="*/ 9770650 h 9805215"/>
              <a:gd name="connsiteX4" fmla="*/ 931310 w 10855607"/>
              <a:gd name="connsiteY4" fmla="*/ 6172134 h 9805215"/>
              <a:gd name="connsiteX5" fmla="*/ 3538974 w 10855607"/>
              <a:gd name="connsiteY5" fmla="*/ 2055055 h 9805215"/>
              <a:gd name="connsiteX6" fmla="*/ 6391977 w 10855607"/>
              <a:gd name="connsiteY6" fmla="*/ 0 h 9805215"/>
              <a:gd name="connsiteX0" fmla="*/ 6391977 w 10855607"/>
              <a:gd name="connsiteY0" fmla="*/ 0 h 9805215"/>
              <a:gd name="connsiteX1" fmla="*/ 10839326 w 10855607"/>
              <a:gd name="connsiteY1" fmla="*/ 3692731 h 9805215"/>
              <a:gd name="connsiteX2" fmla="*/ 10855573 w 10855607"/>
              <a:gd name="connsiteY2" fmla="*/ 9805215 h 9805215"/>
              <a:gd name="connsiteX3" fmla="*/ 0 w 10855607"/>
              <a:gd name="connsiteY3" fmla="*/ 9770650 h 9805215"/>
              <a:gd name="connsiteX4" fmla="*/ 931310 w 10855607"/>
              <a:gd name="connsiteY4" fmla="*/ 6172134 h 9805215"/>
              <a:gd name="connsiteX5" fmla="*/ 3538974 w 10855607"/>
              <a:gd name="connsiteY5" fmla="*/ 2055055 h 9805215"/>
              <a:gd name="connsiteX6" fmla="*/ 6391977 w 10855607"/>
              <a:gd name="connsiteY6" fmla="*/ 0 h 9805215"/>
              <a:gd name="connsiteX0" fmla="*/ 6391977 w 10855607"/>
              <a:gd name="connsiteY0" fmla="*/ 0 h 9805215"/>
              <a:gd name="connsiteX1" fmla="*/ 10839326 w 10855607"/>
              <a:gd name="connsiteY1" fmla="*/ 3692731 h 9805215"/>
              <a:gd name="connsiteX2" fmla="*/ 10855573 w 10855607"/>
              <a:gd name="connsiteY2" fmla="*/ 9805215 h 9805215"/>
              <a:gd name="connsiteX3" fmla="*/ 0 w 10855607"/>
              <a:gd name="connsiteY3" fmla="*/ 9770650 h 9805215"/>
              <a:gd name="connsiteX4" fmla="*/ 931310 w 10855607"/>
              <a:gd name="connsiteY4" fmla="*/ 6172134 h 9805215"/>
              <a:gd name="connsiteX5" fmla="*/ 3538974 w 10855607"/>
              <a:gd name="connsiteY5" fmla="*/ 2055055 h 9805215"/>
              <a:gd name="connsiteX6" fmla="*/ 6391977 w 10855607"/>
              <a:gd name="connsiteY6" fmla="*/ 0 h 9805215"/>
              <a:gd name="connsiteX0" fmla="*/ 6391977 w 10855607"/>
              <a:gd name="connsiteY0" fmla="*/ 0 h 9805215"/>
              <a:gd name="connsiteX1" fmla="*/ 10839326 w 10855607"/>
              <a:gd name="connsiteY1" fmla="*/ 3692731 h 9805215"/>
              <a:gd name="connsiteX2" fmla="*/ 10855573 w 10855607"/>
              <a:gd name="connsiteY2" fmla="*/ 9805215 h 9805215"/>
              <a:gd name="connsiteX3" fmla="*/ 0 w 10855607"/>
              <a:gd name="connsiteY3" fmla="*/ 9770650 h 9805215"/>
              <a:gd name="connsiteX4" fmla="*/ 877335 w 10855607"/>
              <a:gd name="connsiteY4" fmla="*/ 6324534 h 9805215"/>
              <a:gd name="connsiteX5" fmla="*/ 3538974 w 10855607"/>
              <a:gd name="connsiteY5" fmla="*/ 2055055 h 9805215"/>
              <a:gd name="connsiteX6" fmla="*/ 6391977 w 10855607"/>
              <a:gd name="connsiteY6" fmla="*/ 0 h 9805215"/>
              <a:gd name="connsiteX0" fmla="*/ 6391977 w 10855607"/>
              <a:gd name="connsiteY0" fmla="*/ 0 h 9805215"/>
              <a:gd name="connsiteX1" fmla="*/ 10839326 w 10855607"/>
              <a:gd name="connsiteY1" fmla="*/ 3692731 h 9805215"/>
              <a:gd name="connsiteX2" fmla="*/ 10855573 w 10855607"/>
              <a:gd name="connsiteY2" fmla="*/ 9805215 h 9805215"/>
              <a:gd name="connsiteX3" fmla="*/ 0 w 10855607"/>
              <a:gd name="connsiteY3" fmla="*/ 9770650 h 9805215"/>
              <a:gd name="connsiteX4" fmla="*/ 877335 w 10855607"/>
              <a:gd name="connsiteY4" fmla="*/ 6324534 h 9805215"/>
              <a:gd name="connsiteX5" fmla="*/ 3538974 w 10855607"/>
              <a:gd name="connsiteY5" fmla="*/ 2055055 h 9805215"/>
              <a:gd name="connsiteX6" fmla="*/ 6391977 w 10855607"/>
              <a:gd name="connsiteY6" fmla="*/ 0 h 9805215"/>
              <a:gd name="connsiteX0" fmla="*/ 6391977 w 10855607"/>
              <a:gd name="connsiteY0" fmla="*/ 0 h 9805215"/>
              <a:gd name="connsiteX1" fmla="*/ 10839326 w 10855607"/>
              <a:gd name="connsiteY1" fmla="*/ 3692731 h 9805215"/>
              <a:gd name="connsiteX2" fmla="*/ 10855573 w 10855607"/>
              <a:gd name="connsiteY2" fmla="*/ 9805215 h 9805215"/>
              <a:gd name="connsiteX3" fmla="*/ 0 w 10855607"/>
              <a:gd name="connsiteY3" fmla="*/ 9770650 h 9805215"/>
              <a:gd name="connsiteX4" fmla="*/ 877335 w 10855607"/>
              <a:gd name="connsiteY4" fmla="*/ 6324534 h 9805215"/>
              <a:gd name="connsiteX5" fmla="*/ 3538974 w 10855607"/>
              <a:gd name="connsiteY5" fmla="*/ 2055055 h 9805215"/>
              <a:gd name="connsiteX6" fmla="*/ 6391977 w 10855607"/>
              <a:gd name="connsiteY6" fmla="*/ 0 h 9805215"/>
              <a:gd name="connsiteX0" fmla="*/ 6391977 w 10855607"/>
              <a:gd name="connsiteY0" fmla="*/ 0 h 9805215"/>
              <a:gd name="connsiteX1" fmla="*/ 10839326 w 10855607"/>
              <a:gd name="connsiteY1" fmla="*/ 3692731 h 9805215"/>
              <a:gd name="connsiteX2" fmla="*/ 10855573 w 10855607"/>
              <a:gd name="connsiteY2" fmla="*/ 9805215 h 9805215"/>
              <a:gd name="connsiteX3" fmla="*/ 0 w 10855607"/>
              <a:gd name="connsiteY3" fmla="*/ 9770650 h 9805215"/>
              <a:gd name="connsiteX4" fmla="*/ 877335 w 10855607"/>
              <a:gd name="connsiteY4" fmla="*/ 6324534 h 9805215"/>
              <a:gd name="connsiteX5" fmla="*/ 3538974 w 10855607"/>
              <a:gd name="connsiteY5" fmla="*/ 2055055 h 9805215"/>
              <a:gd name="connsiteX6" fmla="*/ 6391977 w 10855607"/>
              <a:gd name="connsiteY6" fmla="*/ 0 h 9805215"/>
              <a:gd name="connsiteX0" fmla="*/ 6391977 w 10855607"/>
              <a:gd name="connsiteY0" fmla="*/ 0 h 9805215"/>
              <a:gd name="connsiteX1" fmla="*/ 10839326 w 10855607"/>
              <a:gd name="connsiteY1" fmla="*/ 3692731 h 9805215"/>
              <a:gd name="connsiteX2" fmla="*/ 10855573 w 10855607"/>
              <a:gd name="connsiteY2" fmla="*/ 9805215 h 9805215"/>
              <a:gd name="connsiteX3" fmla="*/ 0 w 10855607"/>
              <a:gd name="connsiteY3" fmla="*/ 9770650 h 9805215"/>
              <a:gd name="connsiteX4" fmla="*/ 877335 w 10855607"/>
              <a:gd name="connsiteY4" fmla="*/ 6324534 h 9805215"/>
              <a:gd name="connsiteX5" fmla="*/ 3538974 w 10855607"/>
              <a:gd name="connsiteY5" fmla="*/ 2055055 h 9805215"/>
              <a:gd name="connsiteX6" fmla="*/ 6391977 w 10855607"/>
              <a:gd name="connsiteY6" fmla="*/ 0 h 9805215"/>
              <a:gd name="connsiteX0" fmla="*/ 6391977 w 10855607"/>
              <a:gd name="connsiteY0" fmla="*/ 0 h 9805215"/>
              <a:gd name="connsiteX1" fmla="*/ 10839326 w 10855607"/>
              <a:gd name="connsiteY1" fmla="*/ 3692731 h 9805215"/>
              <a:gd name="connsiteX2" fmla="*/ 10855573 w 10855607"/>
              <a:gd name="connsiteY2" fmla="*/ 9805215 h 9805215"/>
              <a:gd name="connsiteX3" fmla="*/ 0 w 10855607"/>
              <a:gd name="connsiteY3" fmla="*/ 9770650 h 9805215"/>
              <a:gd name="connsiteX4" fmla="*/ 877335 w 10855607"/>
              <a:gd name="connsiteY4" fmla="*/ 6324534 h 9805215"/>
              <a:gd name="connsiteX5" fmla="*/ 3538974 w 10855607"/>
              <a:gd name="connsiteY5" fmla="*/ 2055055 h 9805215"/>
              <a:gd name="connsiteX6" fmla="*/ 6391977 w 10855607"/>
              <a:gd name="connsiteY6" fmla="*/ 0 h 9805215"/>
              <a:gd name="connsiteX0" fmla="*/ 6391977 w 10855607"/>
              <a:gd name="connsiteY0" fmla="*/ 0 h 9805215"/>
              <a:gd name="connsiteX1" fmla="*/ 10839326 w 10855607"/>
              <a:gd name="connsiteY1" fmla="*/ 3692731 h 9805215"/>
              <a:gd name="connsiteX2" fmla="*/ 10855573 w 10855607"/>
              <a:gd name="connsiteY2" fmla="*/ 9805215 h 9805215"/>
              <a:gd name="connsiteX3" fmla="*/ 0 w 10855607"/>
              <a:gd name="connsiteY3" fmla="*/ 9770650 h 9805215"/>
              <a:gd name="connsiteX4" fmla="*/ 877335 w 10855607"/>
              <a:gd name="connsiteY4" fmla="*/ 6324534 h 9805215"/>
              <a:gd name="connsiteX5" fmla="*/ 3538974 w 10855607"/>
              <a:gd name="connsiteY5" fmla="*/ 2055055 h 9805215"/>
              <a:gd name="connsiteX6" fmla="*/ 6391977 w 10855607"/>
              <a:gd name="connsiteY6" fmla="*/ 0 h 9805215"/>
              <a:gd name="connsiteX0" fmla="*/ 6391977 w 10855607"/>
              <a:gd name="connsiteY0" fmla="*/ 0 h 9805215"/>
              <a:gd name="connsiteX1" fmla="*/ 10839326 w 10855607"/>
              <a:gd name="connsiteY1" fmla="*/ 3692731 h 9805215"/>
              <a:gd name="connsiteX2" fmla="*/ 10855573 w 10855607"/>
              <a:gd name="connsiteY2" fmla="*/ 9805215 h 9805215"/>
              <a:gd name="connsiteX3" fmla="*/ 0 w 10855607"/>
              <a:gd name="connsiteY3" fmla="*/ 9770650 h 9805215"/>
              <a:gd name="connsiteX4" fmla="*/ 877335 w 10855607"/>
              <a:gd name="connsiteY4" fmla="*/ 6324534 h 9805215"/>
              <a:gd name="connsiteX5" fmla="*/ 3538974 w 10855607"/>
              <a:gd name="connsiteY5" fmla="*/ 2055055 h 9805215"/>
              <a:gd name="connsiteX6" fmla="*/ 6391977 w 10855607"/>
              <a:gd name="connsiteY6" fmla="*/ 0 h 98052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855607" h="9805215">
                <a:moveTo>
                  <a:pt x="6391977" y="0"/>
                </a:moveTo>
                <a:lnTo>
                  <a:pt x="10839326" y="3692731"/>
                </a:lnTo>
                <a:cubicBezTo>
                  <a:pt x="10838392" y="4243267"/>
                  <a:pt x="10856507" y="9254679"/>
                  <a:pt x="10855573" y="9805215"/>
                </a:cubicBezTo>
                <a:lnTo>
                  <a:pt x="0" y="9770650"/>
                </a:lnTo>
                <a:cubicBezTo>
                  <a:pt x="132134" y="8897023"/>
                  <a:pt x="382756" y="7575542"/>
                  <a:pt x="877335" y="6324534"/>
                </a:cubicBezTo>
                <a:cubicBezTo>
                  <a:pt x="1371914" y="5073526"/>
                  <a:pt x="2016804" y="3651322"/>
                  <a:pt x="3538974" y="2055055"/>
                </a:cubicBezTo>
                <a:cubicBezTo>
                  <a:pt x="4451544" y="1135063"/>
                  <a:pt x="5526455" y="352832"/>
                  <a:pt x="6391977" y="0"/>
                </a:cubicBezTo>
                <a:close/>
              </a:path>
            </a:pathLst>
          </a:custGeom>
        </p:spPr>
        <p:txBody>
          <a:bodyPr anchor="ctr" anchorCtr="1">
            <a:noAutofit/>
          </a:bodyPr>
          <a:lstStyle>
            <a:lvl1pPr>
              <a:defRPr sz="3000" b="1" i="0">
                <a:solidFill>
                  <a:schemeClr val="accent1"/>
                </a:solidFill>
                <a:latin typeface="Avenir Black" panose="02000503020000020003" pitchFamily="2" charset="0"/>
              </a:defRPr>
            </a:lvl1pPr>
          </a:lstStyle>
          <a:p>
            <a:r>
              <a:rPr lang="en-US" dirty="0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18015727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ext Imag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3">
            <a:extLst>
              <a:ext uri="{FF2B5EF4-FFF2-40B4-BE49-F238E27FC236}">
                <a16:creationId xmlns:a16="http://schemas.microsoft.com/office/drawing/2014/main" id="{13C09A48-3EC2-DA07-4F4F-6CC0A3610AF1}"/>
              </a:ext>
            </a:extLst>
          </p:cNvPr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20104099" cy="11308556"/>
          </a:xfrm>
          <a:prstGeom prst="rect">
            <a:avLst/>
          </a:prstGeom>
        </p:spPr>
      </p:pic>
      <p:sp>
        <p:nvSpPr>
          <p:cNvPr id="6" name="Picture Placeholder 14">
            <a:extLst>
              <a:ext uri="{FF2B5EF4-FFF2-40B4-BE49-F238E27FC236}">
                <a16:creationId xmlns:a16="http://schemas.microsoft.com/office/drawing/2014/main" id="{0D4407A0-845C-32F4-61AE-D5127AACABE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1782869" y="1565233"/>
            <a:ext cx="8346886" cy="9770650"/>
          </a:xfrm>
          <a:custGeom>
            <a:avLst/>
            <a:gdLst>
              <a:gd name="connsiteX0" fmla="*/ 0 w 6553200"/>
              <a:gd name="connsiteY0" fmla="*/ 0 h 276999"/>
              <a:gd name="connsiteX1" fmla="*/ 6553200 w 6553200"/>
              <a:gd name="connsiteY1" fmla="*/ 0 h 276999"/>
              <a:gd name="connsiteX2" fmla="*/ 6553200 w 6553200"/>
              <a:gd name="connsiteY2" fmla="*/ 276999 h 276999"/>
              <a:gd name="connsiteX3" fmla="*/ 0 w 6553200"/>
              <a:gd name="connsiteY3" fmla="*/ 276999 h 276999"/>
              <a:gd name="connsiteX4" fmla="*/ 0 w 6553200"/>
              <a:gd name="connsiteY4" fmla="*/ 0 h 276999"/>
              <a:gd name="connsiteX0" fmla="*/ 2873829 w 6553200"/>
              <a:gd name="connsiteY0" fmla="*/ 0 h 4528365"/>
              <a:gd name="connsiteX1" fmla="*/ 6553200 w 6553200"/>
              <a:gd name="connsiteY1" fmla="*/ 4251366 h 4528365"/>
              <a:gd name="connsiteX2" fmla="*/ 6553200 w 6553200"/>
              <a:gd name="connsiteY2" fmla="*/ 4528365 h 4528365"/>
              <a:gd name="connsiteX3" fmla="*/ 0 w 6553200"/>
              <a:gd name="connsiteY3" fmla="*/ 4528365 h 4528365"/>
              <a:gd name="connsiteX4" fmla="*/ 2873829 w 6553200"/>
              <a:gd name="connsiteY4" fmla="*/ 0 h 4528365"/>
              <a:gd name="connsiteX0" fmla="*/ 2873829 w 7610103"/>
              <a:gd name="connsiteY0" fmla="*/ 0 h 4528365"/>
              <a:gd name="connsiteX1" fmla="*/ 7610103 w 7610103"/>
              <a:gd name="connsiteY1" fmla="*/ 3883231 h 4528365"/>
              <a:gd name="connsiteX2" fmla="*/ 6553200 w 7610103"/>
              <a:gd name="connsiteY2" fmla="*/ 4528365 h 4528365"/>
              <a:gd name="connsiteX3" fmla="*/ 0 w 7610103"/>
              <a:gd name="connsiteY3" fmla="*/ 4528365 h 4528365"/>
              <a:gd name="connsiteX4" fmla="*/ 2873829 w 7610103"/>
              <a:gd name="connsiteY4" fmla="*/ 0 h 4528365"/>
              <a:gd name="connsiteX0" fmla="*/ 6365175 w 11101449"/>
              <a:gd name="connsiteY0" fmla="*/ 0 h 9765383"/>
              <a:gd name="connsiteX1" fmla="*/ 11101449 w 11101449"/>
              <a:gd name="connsiteY1" fmla="*/ 3883231 h 9765383"/>
              <a:gd name="connsiteX2" fmla="*/ 10044546 w 11101449"/>
              <a:gd name="connsiteY2" fmla="*/ 4528365 h 9765383"/>
              <a:gd name="connsiteX3" fmla="*/ 0 w 11101449"/>
              <a:gd name="connsiteY3" fmla="*/ 9765383 h 9765383"/>
              <a:gd name="connsiteX4" fmla="*/ 6365175 w 11101449"/>
              <a:gd name="connsiteY4" fmla="*/ 0 h 9765383"/>
              <a:gd name="connsiteX0" fmla="*/ 6384225 w 11101449"/>
              <a:gd name="connsiteY0" fmla="*/ 0 h 9593933"/>
              <a:gd name="connsiteX1" fmla="*/ 11101449 w 11101449"/>
              <a:gd name="connsiteY1" fmla="*/ 3711781 h 9593933"/>
              <a:gd name="connsiteX2" fmla="*/ 10044546 w 11101449"/>
              <a:gd name="connsiteY2" fmla="*/ 4356915 h 9593933"/>
              <a:gd name="connsiteX3" fmla="*/ 0 w 11101449"/>
              <a:gd name="connsiteY3" fmla="*/ 9593933 h 9593933"/>
              <a:gd name="connsiteX4" fmla="*/ 6384225 w 11101449"/>
              <a:gd name="connsiteY4" fmla="*/ 0 h 9593933"/>
              <a:gd name="connsiteX0" fmla="*/ 6374700 w 11101449"/>
              <a:gd name="connsiteY0" fmla="*/ 0 h 9759033"/>
              <a:gd name="connsiteX1" fmla="*/ 11101449 w 11101449"/>
              <a:gd name="connsiteY1" fmla="*/ 3876881 h 9759033"/>
              <a:gd name="connsiteX2" fmla="*/ 10044546 w 11101449"/>
              <a:gd name="connsiteY2" fmla="*/ 4522015 h 9759033"/>
              <a:gd name="connsiteX3" fmla="*/ 0 w 11101449"/>
              <a:gd name="connsiteY3" fmla="*/ 9759033 h 9759033"/>
              <a:gd name="connsiteX4" fmla="*/ 6374700 w 11101449"/>
              <a:gd name="connsiteY4" fmla="*/ 0 h 9759033"/>
              <a:gd name="connsiteX0" fmla="*/ 6374700 w 10828399"/>
              <a:gd name="connsiteY0" fmla="*/ 0 h 9759033"/>
              <a:gd name="connsiteX1" fmla="*/ 10828399 w 10828399"/>
              <a:gd name="connsiteY1" fmla="*/ 3695906 h 9759033"/>
              <a:gd name="connsiteX2" fmla="*/ 10044546 w 10828399"/>
              <a:gd name="connsiteY2" fmla="*/ 4522015 h 9759033"/>
              <a:gd name="connsiteX3" fmla="*/ 0 w 10828399"/>
              <a:gd name="connsiteY3" fmla="*/ 9759033 h 9759033"/>
              <a:gd name="connsiteX4" fmla="*/ 6374700 w 10828399"/>
              <a:gd name="connsiteY4" fmla="*/ 0 h 9759033"/>
              <a:gd name="connsiteX0" fmla="*/ 6374700 w 10828399"/>
              <a:gd name="connsiteY0" fmla="*/ 0 h 9759033"/>
              <a:gd name="connsiteX1" fmla="*/ 10828399 w 10828399"/>
              <a:gd name="connsiteY1" fmla="*/ 3695906 h 9759033"/>
              <a:gd name="connsiteX2" fmla="*/ 10825596 w 10828399"/>
              <a:gd name="connsiteY2" fmla="*/ 5347515 h 9759033"/>
              <a:gd name="connsiteX3" fmla="*/ 0 w 10828399"/>
              <a:gd name="connsiteY3" fmla="*/ 9759033 h 9759033"/>
              <a:gd name="connsiteX4" fmla="*/ 6374700 w 10828399"/>
              <a:gd name="connsiteY4" fmla="*/ 0 h 9759033"/>
              <a:gd name="connsiteX0" fmla="*/ 6374700 w 10832054"/>
              <a:gd name="connsiteY0" fmla="*/ 0 h 9759033"/>
              <a:gd name="connsiteX1" fmla="*/ 10828399 w 10832054"/>
              <a:gd name="connsiteY1" fmla="*/ 3695906 h 9759033"/>
              <a:gd name="connsiteX2" fmla="*/ 10831946 w 10832054"/>
              <a:gd name="connsiteY2" fmla="*/ 5693590 h 9759033"/>
              <a:gd name="connsiteX3" fmla="*/ 0 w 10832054"/>
              <a:gd name="connsiteY3" fmla="*/ 9759033 h 9759033"/>
              <a:gd name="connsiteX4" fmla="*/ 6374700 w 10832054"/>
              <a:gd name="connsiteY4" fmla="*/ 0 h 9759033"/>
              <a:gd name="connsiteX0" fmla="*/ 6374700 w 10844680"/>
              <a:gd name="connsiteY0" fmla="*/ 0 h 9808390"/>
              <a:gd name="connsiteX1" fmla="*/ 10828399 w 10844680"/>
              <a:gd name="connsiteY1" fmla="*/ 3695906 h 9808390"/>
              <a:gd name="connsiteX2" fmla="*/ 10844646 w 10844680"/>
              <a:gd name="connsiteY2" fmla="*/ 9808390 h 9808390"/>
              <a:gd name="connsiteX3" fmla="*/ 0 w 10844680"/>
              <a:gd name="connsiteY3" fmla="*/ 9759033 h 9808390"/>
              <a:gd name="connsiteX4" fmla="*/ 6374700 w 10844680"/>
              <a:gd name="connsiteY4" fmla="*/ 0 h 9808390"/>
              <a:gd name="connsiteX0" fmla="*/ 6395842 w 10865822"/>
              <a:gd name="connsiteY0" fmla="*/ 0 h 9808390"/>
              <a:gd name="connsiteX1" fmla="*/ 10849541 w 10865822"/>
              <a:gd name="connsiteY1" fmla="*/ 3695906 h 9808390"/>
              <a:gd name="connsiteX2" fmla="*/ 10865788 w 10865822"/>
              <a:gd name="connsiteY2" fmla="*/ 9808390 h 9808390"/>
              <a:gd name="connsiteX3" fmla="*/ 0 w 10865822"/>
              <a:gd name="connsiteY3" fmla="*/ 9780175 h 9808390"/>
              <a:gd name="connsiteX4" fmla="*/ 6395842 w 10865822"/>
              <a:gd name="connsiteY4" fmla="*/ 0 h 9808390"/>
              <a:gd name="connsiteX0" fmla="*/ 6395842 w 10865822"/>
              <a:gd name="connsiteY0" fmla="*/ 0 h 9808390"/>
              <a:gd name="connsiteX1" fmla="*/ 10849541 w 10865822"/>
              <a:gd name="connsiteY1" fmla="*/ 3695906 h 9808390"/>
              <a:gd name="connsiteX2" fmla="*/ 10865788 w 10865822"/>
              <a:gd name="connsiteY2" fmla="*/ 9808390 h 9808390"/>
              <a:gd name="connsiteX3" fmla="*/ 0 w 10865822"/>
              <a:gd name="connsiteY3" fmla="*/ 9780175 h 9808390"/>
              <a:gd name="connsiteX4" fmla="*/ 6395842 w 10865822"/>
              <a:gd name="connsiteY4" fmla="*/ 0 h 9808390"/>
              <a:gd name="connsiteX0" fmla="*/ 6395842 w 10865822"/>
              <a:gd name="connsiteY0" fmla="*/ 0 h 9808390"/>
              <a:gd name="connsiteX1" fmla="*/ 10849541 w 10865822"/>
              <a:gd name="connsiteY1" fmla="*/ 3695906 h 9808390"/>
              <a:gd name="connsiteX2" fmla="*/ 10865788 w 10865822"/>
              <a:gd name="connsiteY2" fmla="*/ 9808390 h 9808390"/>
              <a:gd name="connsiteX3" fmla="*/ 0 w 10865822"/>
              <a:gd name="connsiteY3" fmla="*/ 9780175 h 9808390"/>
              <a:gd name="connsiteX4" fmla="*/ 6395842 w 10865822"/>
              <a:gd name="connsiteY4" fmla="*/ 0 h 9808390"/>
              <a:gd name="connsiteX0" fmla="*/ 6395842 w 10865822"/>
              <a:gd name="connsiteY0" fmla="*/ 0 h 9808390"/>
              <a:gd name="connsiteX1" fmla="*/ 10849541 w 10865822"/>
              <a:gd name="connsiteY1" fmla="*/ 3695906 h 9808390"/>
              <a:gd name="connsiteX2" fmla="*/ 10865788 w 10865822"/>
              <a:gd name="connsiteY2" fmla="*/ 9808390 h 9808390"/>
              <a:gd name="connsiteX3" fmla="*/ 0 w 10865822"/>
              <a:gd name="connsiteY3" fmla="*/ 9780175 h 9808390"/>
              <a:gd name="connsiteX4" fmla="*/ 6395842 w 10865822"/>
              <a:gd name="connsiteY4" fmla="*/ 0 h 9808390"/>
              <a:gd name="connsiteX0" fmla="*/ 6443467 w 10865822"/>
              <a:gd name="connsiteY0" fmla="*/ 0 h 9760765"/>
              <a:gd name="connsiteX1" fmla="*/ 10849541 w 10865822"/>
              <a:gd name="connsiteY1" fmla="*/ 3648281 h 9760765"/>
              <a:gd name="connsiteX2" fmla="*/ 10865788 w 10865822"/>
              <a:gd name="connsiteY2" fmla="*/ 9760765 h 9760765"/>
              <a:gd name="connsiteX3" fmla="*/ 0 w 10865822"/>
              <a:gd name="connsiteY3" fmla="*/ 9732550 h 9760765"/>
              <a:gd name="connsiteX4" fmla="*/ 6443467 w 10865822"/>
              <a:gd name="connsiteY4" fmla="*/ 0 h 9760765"/>
              <a:gd name="connsiteX0" fmla="*/ 6399017 w 10865822"/>
              <a:gd name="connsiteY0" fmla="*/ 0 h 9802040"/>
              <a:gd name="connsiteX1" fmla="*/ 10849541 w 10865822"/>
              <a:gd name="connsiteY1" fmla="*/ 3689556 h 9802040"/>
              <a:gd name="connsiteX2" fmla="*/ 10865788 w 10865822"/>
              <a:gd name="connsiteY2" fmla="*/ 9802040 h 9802040"/>
              <a:gd name="connsiteX3" fmla="*/ 0 w 10865822"/>
              <a:gd name="connsiteY3" fmla="*/ 9773825 h 9802040"/>
              <a:gd name="connsiteX4" fmla="*/ 6399017 w 10865822"/>
              <a:gd name="connsiteY4" fmla="*/ 0 h 9802040"/>
              <a:gd name="connsiteX0" fmla="*/ 6399017 w 10865822"/>
              <a:gd name="connsiteY0" fmla="*/ 0 h 9802040"/>
              <a:gd name="connsiteX1" fmla="*/ 10849541 w 10865822"/>
              <a:gd name="connsiteY1" fmla="*/ 3689556 h 9802040"/>
              <a:gd name="connsiteX2" fmla="*/ 10865788 w 10865822"/>
              <a:gd name="connsiteY2" fmla="*/ 9802040 h 9802040"/>
              <a:gd name="connsiteX3" fmla="*/ 0 w 10865822"/>
              <a:gd name="connsiteY3" fmla="*/ 9773825 h 9802040"/>
              <a:gd name="connsiteX4" fmla="*/ 6399017 w 10865822"/>
              <a:gd name="connsiteY4" fmla="*/ 0 h 9802040"/>
              <a:gd name="connsiteX0" fmla="*/ 6791036 w 11257841"/>
              <a:gd name="connsiteY0" fmla="*/ 38 h 9802078"/>
              <a:gd name="connsiteX1" fmla="*/ 11241560 w 11257841"/>
              <a:gd name="connsiteY1" fmla="*/ 3689594 h 9802078"/>
              <a:gd name="connsiteX2" fmla="*/ 11257807 w 11257841"/>
              <a:gd name="connsiteY2" fmla="*/ 9802078 h 9802078"/>
              <a:gd name="connsiteX3" fmla="*/ 392019 w 11257841"/>
              <a:gd name="connsiteY3" fmla="*/ 9773863 h 9802078"/>
              <a:gd name="connsiteX4" fmla="*/ 2808197 w 11257841"/>
              <a:gd name="connsiteY4" fmla="*/ 3628916 h 9802078"/>
              <a:gd name="connsiteX5" fmla="*/ 6791036 w 11257841"/>
              <a:gd name="connsiteY5" fmla="*/ 38 h 9802078"/>
              <a:gd name="connsiteX0" fmla="*/ 6793749 w 11260554"/>
              <a:gd name="connsiteY0" fmla="*/ 42 h 9802082"/>
              <a:gd name="connsiteX1" fmla="*/ 11244273 w 11260554"/>
              <a:gd name="connsiteY1" fmla="*/ 3689598 h 9802082"/>
              <a:gd name="connsiteX2" fmla="*/ 11260520 w 11260554"/>
              <a:gd name="connsiteY2" fmla="*/ 9802082 h 9802082"/>
              <a:gd name="connsiteX3" fmla="*/ 394732 w 11260554"/>
              <a:gd name="connsiteY3" fmla="*/ 9773867 h 9802082"/>
              <a:gd name="connsiteX4" fmla="*/ 2784016 w 11260554"/>
              <a:gd name="connsiteY4" fmla="*/ 3400320 h 9802082"/>
              <a:gd name="connsiteX5" fmla="*/ 6793749 w 11260554"/>
              <a:gd name="connsiteY5" fmla="*/ 42 h 9802082"/>
              <a:gd name="connsiteX0" fmla="*/ 6765372 w 11232177"/>
              <a:gd name="connsiteY0" fmla="*/ 42 h 9802082"/>
              <a:gd name="connsiteX1" fmla="*/ 11215896 w 11232177"/>
              <a:gd name="connsiteY1" fmla="*/ 3689598 h 9802082"/>
              <a:gd name="connsiteX2" fmla="*/ 11232143 w 11232177"/>
              <a:gd name="connsiteY2" fmla="*/ 9802082 h 9802082"/>
              <a:gd name="connsiteX3" fmla="*/ 366355 w 11232177"/>
              <a:gd name="connsiteY3" fmla="*/ 9773867 h 9802082"/>
              <a:gd name="connsiteX4" fmla="*/ 2755639 w 11232177"/>
              <a:gd name="connsiteY4" fmla="*/ 3400320 h 9802082"/>
              <a:gd name="connsiteX5" fmla="*/ 6765372 w 11232177"/>
              <a:gd name="connsiteY5" fmla="*/ 42 h 9802082"/>
              <a:gd name="connsiteX0" fmla="*/ 6795460 w 11262265"/>
              <a:gd name="connsiteY0" fmla="*/ 42 h 9802082"/>
              <a:gd name="connsiteX1" fmla="*/ 11245984 w 11262265"/>
              <a:gd name="connsiteY1" fmla="*/ 3689598 h 9802082"/>
              <a:gd name="connsiteX2" fmla="*/ 11262231 w 11262265"/>
              <a:gd name="connsiteY2" fmla="*/ 9802082 h 9802082"/>
              <a:gd name="connsiteX3" fmla="*/ 396443 w 11262265"/>
              <a:gd name="connsiteY3" fmla="*/ 9773867 h 9802082"/>
              <a:gd name="connsiteX4" fmla="*/ 2785727 w 11262265"/>
              <a:gd name="connsiteY4" fmla="*/ 3400320 h 9802082"/>
              <a:gd name="connsiteX5" fmla="*/ 6795460 w 11262265"/>
              <a:gd name="connsiteY5" fmla="*/ 42 h 9802082"/>
              <a:gd name="connsiteX0" fmla="*/ 6726086 w 11192891"/>
              <a:gd name="connsiteY0" fmla="*/ 25 h 9802065"/>
              <a:gd name="connsiteX1" fmla="*/ 11176610 w 11192891"/>
              <a:gd name="connsiteY1" fmla="*/ 3689581 h 9802065"/>
              <a:gd name="connsiteX2" fmla="*/ 11192857 w 11192891"/>
              <a:gd name="connsiteY2" fmla="*/ 9802065 h 9802065"/>
              <a:gd name="connsiteX3" fmla="*/ 327069 w 11192891"/>
              <a:gd name="connsiteY3" fmla="*/ 9773850 h 9802065"/>
              <a:gd name="connsiteX4" fmla="*/ 2716353 w 11192891"/>
              <a:gd name="connsiteY4" fmla="*/ 3400303 h 9802065"/>
              <a:gd name="connsiteX5" fmla="*/ 6726086 w 11192891"/>
              <a:gd name="connsiteY5" fmla="*/ 25 h 9802065"/>
              <a:gd name="connsiteX0" fmla="*/ 6399017 w 10865822"/>
              <a:gd name="connsiteY0" fmla="*/ 25 h 9802065"/>
              <a:gd name="connsiteX1" fmla="*/ 10849541 w 10865822"/>
              <a:gd name="connsiteY1" fmla="*/ 3689581 h 9802065"/>
              <a:gd name="connsiteX2" fmla="*/ 10865788 w 10865822"/>
              <a:gd name="connsiteY2" fmla="*/ 9802065 h 9802065"/>
              <a:gd name="connsiteX3" fmla="*/ 0 w 10865822"/>
              <a:gd name="connsiteY3" fmla="*/ 9773850 h 9802065"/>
              <a:gd name="connsiteX4" fmla="*/ 2389284 w 10865822"/>
              <a:gd name="connsiteY4" fmla="*/ 3400303 h 9802065"/>
              <a:gd name="connsiteX5" fmla="*/ 6399017 w 10865822"/>
              <a:gd name="connsiteY5" fmla="*/ 25 h 9802065"/>
              <a:gd name="connsiteX0" fmla="*/ 6399017 w 10865822"/>
              <a:gd name="connsiteY0" fmla="*/ 25 h 9802065"/>
              <a:gd name="connsiteX1" fmla="*/ 10849541 w 10865822"/>
              <a:gd name="connsiteY1" fmla="*/ 3689581 h 9802065"/>
              <a:gd name="connsiteX2" fmla="*/ 10865788 w 10865822"/>
              <a:gd name="connsiteY2" fmla="*/ 9802065 h 9802065"/>
              <a:gd name="connsiteX3" fmla="*/ 0 w 10865822"/>
              <a:gd name="connsiteY3" fmla="*/ 9773850 h 9802065"/>
              <a:gd name="connsiteX4" fmla="*/ 2389284 w 10865822"/>
              <a:gd name="connsiteY4" fmla="*/ 3400303 h 9802065"/>
              <a:gd name="connsiteX5" fmla="*/ 6399017 w 10865822"/>
              <a:gd name="connsiteY5" fmla="*/ 25 h 9802065"/>
              <a:gd name="connsiteX0" fmla="*/ 6399017 w 10865822"/>
              <a:gd name="connsiteY0" fmla="*/ 28 h 9802068"/>
              <a:gd name="connsiteX1" fmla="*/ 10849541 w 10865822"/>
              <a:gd name="connsiteY1" fmla="*/ 3689584 h 9802068"/>
              <a:gd name="connsiteX2" fmla="*/ 10865788 w 10865822"/>
              <a:gd name="connsiteY2" fmla="*/ 9802068 h 9802068"/>
              <a:gd name="connsiteX3" fmla="*/ 0 w 10865822"/>
              <a:gd name="connsiteY3" fmla="*/ 9773853 h 9802068"/>
              <a:gd name="connsiteX4" fmla="*/ 2732184 w 10865822"/>
              <a:gd name="connsiteY4" fmla="*/ 2956553 h 9802068"/>
              <a:gd name="connsiteX5" fmla="*/ 6399017 w 10865822"/>
              <a:gd name="connsiteY5" fmla="*/ 28 h 9802068"/>
              <a:gd name="connsiteX0" fmla="*/ 6399017 w 10865822"/>
              <a:gd name="connsiteY0" fmla="*/ 16 h 9802056"/>
              <a:gd name="connsiteX1" fmla="*/ 10849541 w 10865822"/>
              <a:gd name="connsiteY1" fmla="*/ 3689572 h 9802056"/>
              <a:gd name="connsiteX2" fmla="*/ 10865788 w 10865822"/>
              <a:gd name="connsiteY2" fmla="*/ 9802056 h 9802056"/>
              <a:gd name="connsiteX3" fmla="*/ 0 w 10865822"/>
              <a:gd name="connsiteY3" fmla="*/ 9773841 h 9802056"/>
              <a:gd name="connsiteX4" fmla="*/ 1374031 w 10865822"/>
              <a:gd name="connsiteY4" fmla="*/ 5134964 h 9802056"/>
              <a:gd name="connsiteX5" fmla="*/ 6399017 w 10865822"/>
              <a:gd name="connsiteY5" fmla="*/ 16 h 9802056"/>
              <a:gd name="connsiteX0" fmla="*/ 6399017 w 10865822"/>
              <a:gd name="connsiteY0" fmla="*/ 16 h 9802056"/>
              <a:gd name="connsiteX1" fmla="*/ 10849541 w 10865822"/>
              <a:gd name="connsiteY1" fmla="*/ 3689572 h 9802056"/>
              <a:gd name="connsiteX2" fmla="*/ 10865788 w 10865822"/>
              <a:gd name="connsiteY2" fmla="*/ 9802056 h 9802056"/>
              <a:gd name="connsiteX3" fmla="*/ 0 w 10865822"/>
              <a:gd name="connsiteY3" fmla="*/ 9773841 h 9802056"/>
              <a:gd name="connsiteX4" fmla="*/ 1374031 w 10865822"/>
              <a:gd name="connsiteY4" fmla="*/ 5134964 h 9802056"/>
              <a:gd name="connsiteX5" fmla="*/ 6399017 w 10865822"/>
              <a:gd name="connsiteY5" fmla="*/ 16 h 9802056"/>
              <a:gd name="connsiteX0" fmla="*/ 6382452 w 10849257"/>
              <a:gd name="connsiteY0" fmla="*/ 21 h 9802061"/>
              <a:gd name="connsiteX1" fmla="*/ 10832976 w 10849257"/>
              <a:gd name="connsiteY1" fmla="*/ 3689577 h 9802061"/>
              <a:gd name="connsiteX2" fmla="*/ 10849223 w 10849257"/>
              <a:gd name="connsiteY2" fmla="*/ 9802061 h 9802061"/>
              <a:gd name="connsiteX3" fmla="*/ 0 w 10849257"/>
              <a:gd name="connsiteY3" fmla="*/ 9773846 h 9802061"/>
              <a:gd name="connsiteX4" fmla="*/ 1357466 w 10849257"/>
              <a:gd name="connsiteY4" fmla="*/ 5134969 h 9802061"/>
              <a:gd name="connsiteX5" fmla="*/ 6382452 w 10849257"/>
              <a:gd name="connsiteY5" fmla="*/ 21 h 9802061"/>
              <a:gd name="connsiteX0" fmla="*/ 6382452 w 10849257"/>
              <a:gd name="connsiteY0" fmla="*/ 21 h 9802061"/>
              <a:gd name="connsiteX1" fmla="*/ 10832976 w 10849257"/>
              <a:gd name="connsiteY1" fmla="*/ 3689577 h 9802061"/>
              <a:gd name="connsiteX2" fmla="*/ 10849223 w 10849257"/>
              <a:gd name="connsiteY2" fmla="*/ 9802061 h 9802061"/>
              <a:gd name="connsiteX3" fmla="*/ 0 w 10849257"/>
              <a:gd name="connsiteY3" fmla="*/ 9773846 h 9802061"/>
              <a:gd name="connsiteX4" fmla="*/ 1357466 w 10849257"/>
              <a:gd name="connsiteY4" fmla="*/ 5134969 h 9802061"/>
              <a:gd name="connsiteX5" fmla="*/ 6382452 w 10849257"/>
              <a:gd name="connsiteY5" fmla="*/ 21 h 9802061"/>
              <a:gd name="connsiteX0" fmla="*/ 6382452 w 10849257"/>
              <a:gd name="connsiteY0" fmla="*/ 16 h 9802056"/>
              <a:gd name="connsiteX1" fmla="*/ 10832976 w 10849257"/>
              <a:gd name="connsiteY1" fmla="*/ 3689572 h 9802056"/>
              <a:gd name="connsiteX2" fmla="*/ 10849223 w 10849257"/>
              <a:gd name="connsiteY2" fmla="*/ 9802056 h 9802056"/>
              <a:gd name="connsiteX3" fmla="*/ 0 w 10849257"/>
              <a:gd name="connsiteY3" fmla="*/ 9773841 h 9802056"/>
              <a:gd name="connsiteX4" fmla="*/ 1357466 w 10849257"/>
              <a:gd name="connsiteY4" fmla="*/ 5134964 h 9802056"/>
              <a:gd name="connsiteX5" fmla="*/ 6382452 w 10849257"/>
              <a:gd name="connsiteY5" fmla="*/ 16 h 9802056"/>
              <a:gd name="connsiteX0" fmla="*/ 6382452 w 10849257"/>
              <a:gd name="connsiteY0" fmla="*/ 16 h 9802056"/>
              <a:gd name="connsiteX1" fmla="*/ 10832976 w 10849257"/>
              <a:gd name="connsiteY1" fmla="*/ 3689572 h 9802056"/>
              <a:gd name="connsiteX2" fmla="*/ 10849223 w 10849257"/>
              <a:gd name="connsiteY2" fmla="*/ 9802056 h 9802056"/>
              <a:gd name="connsiteX3" fmla="*/ 0 w 10849257"/>
              <a:gd name="connsiteY3" fmla="*/ 9773841 h 9802056"/>
              <a:gd name="connsiteX4" fmla="*/ 1364092 w 10849257"/>
              <a:gd name="connsiteY4" fmla="*/ 5171407 h 9802056"/>
              <a:gd name="connsiteX5" fmla="*/ 6382452 w 10849257"/>
              <a:gd name="connsiteY5" fmla="*/ 16 h 9802056"/>
              <a:gd name="connsiteX0" fmla="*/ 6382452 w 10849257"/>
              <a:gd name="connsiteY0" fmla="*/ 16 h 9802056"/>
              <a:gd name="connsiteX1" fmla="*/ 10832976 w 10849257"/>
              <a:gd name="connsiteY1" fmla="*/ 3689572 h 9802056"/>
              <a:gd name="connsiteX2" fmla="*/ 10849223 w 10849257"/>
              <a:gd name="connsiteY2" fmla="*/ 9802056 h 9802056"/>
              <a:gd name="connsiteX3" fmla="*/ 0 w 10849257"/>
              <a:gd name="connsiteY3" fmla="*/ 9773841 h 9802056"/>
              <a:gd name="connsiteX4" fmla="*/ 1364092 w 10849257"/>
              <a:gd name="connsiteY4" fmla="*/ 5171407 h 9802056"/>
              <a:gd name="connsiteX5" fmla="*/ 6382452 w 10849257"/>
              <a:gd name="connsiteY5" fmla="*/ 16 h 9802056"/>
              <a:gd name="connsiteX0" fmla="*/ 6382452 w 10849257"/>
              <a:gd name="connsiteY0" fmla="*/ 16 h 9802056"/>
              <a:gd name="connsiteX1" fmla="*/ 10832976 w 10849257"/>
              <a:gd name="connsiteY1" fmla="*/ 3689572 h 9802056"/>
              <a:gd name="connsiteX2" fmla="*/ 10849223 w 10849257"/>
              <a:gd name="connsiteY2" fmla="*/ 9802056 h 9802056"/>
              <a:gd name="connsiteX3" fmla="*/ 0 w 10849257"/>
              <a:gd name="connsiteY3" fmla="*/ 9773841 h 9802056"/>
              <a:gd name="connsiteX4" fmla="*/ 1364092 w 10849257"/>
              <a:gd name="connsiteY4" fmla="*/ 5171407 h 9802056"/>
              <a:gd name="connsiteX5" fmla="*/ 6382452 w 10849257"/>
              <a:gd name="connsiteY5" fmla="*/ 16 h 9802056"/>
              <a:gd name="connsiteX0" fmla="*/ 6382452 w 10849257"/>
              <a:gd name="connsiteY0" fmla="*/ 16 h 9802056"/>
              <a:gd name="connsiteX1" fmla="*/ 10832976 w 10849257"/>
              <a:gd name="connsiteY1" fmla="*/ 3689572 h 9802056"/>
              <a:gd name="connsiteX2" fmla="*/ 10849223 w 10849257"/>
              <a:gd name="connsiteY2" fmla="*/ 9802056 h 9802056"/>
              <a:gd name="connsiteX3" fmla="*/ 0 w 10849257"/>
              <a:gd name="connsiteY3" fmla="*/ 9773841 h 9802056"/>
              <a:gd name="connsiteX4" fmla="*/ 1367405 w 10849257"/>
              <a:gd name="connsiteY4" fmla="*/ 5154842 h 9802056"/>
              <a:gd name="connsiteX5" fmla="*/ 6382452 w 10849257"/>
              <a:gd name="connsiteY5" fmla="*/ 16 h 9802056"/>
              <a:gd name="connsiteX0" fmla="*/ 6382452 w 10849257"/>
              <a:gd name="connsiteY0" fmla="*/ 16 h 9802056"/>
              <a:gd name="connsiteX1" fmla="*/ 10832976 w 10849257"/>
              <a:gd name="connsiteY1" fmla="*/ 3689572 h 9802056"/>
              <a:gd name="connsiteX2" fmla="*/ 10849223 w 10849257"/>
              <a:gd name="connsiteY2" fmla="*/ 9802056 h 9802056"/>
              <a:gd name="connsiteX3" fmla="*/ 0 w 10849257"/>
              <a:gd name="connsiteY3" fmla="*/ 9773841 h 9802056"/>
              <a:gd name="connsiteX4" fmla="*/ 1367405 w 10849257"/>
              <a:gd name="connsiteY4" fmla="*/ 5154842 h 9802056"/>
              <a:gd name="connsiteX5" fmla="*/ 6382452 w 10849257"/>
              <a:gd name="connsiteY5" fmla="*/ 16 h 9802056"/>
              <a:gd name="connsiteX0" fmla="*/ 6382452 w 10849257"/>
              <a:gd name="connsiteY0" fmla="*/ 0 h 9802040"/>
              <a:gd name="connsiteX1" fmla="*/ 10832976 w 10849257"/>
              <a:gd name="connsiteY1" fmla="*/ 3689556 h 9802040"/>
              <a:gd name="connsiteX2" fmla="*/ 10849223 w 10849257"/>
              <a:gd name="connsiteY2" fmla="*/ 9802040 h 9802040"/>
              <a:gd name="connsiteX3" fmla="*/ 0 w 10849257"/>
              <a:gd name="connsiteY3" fmla="*/ 9773825 h 9802040"/>
              <a:gd name="connsiteX4" fmla="*/ 1367405 w 10849257"/>
              <a:gd name="connsiteY4" fmla="*/ 5154826 h 9802040"/>
              <a:gd name="connsiteX5" fmla="*/ 6382452 w 10849257"/>
              <a:gd name="connsiteY5" fmla="*/ 0 h 9802040"/>
              <a:gd name="connsiteX0" fmla="*/ 6385627 w 10849257"/>
              <a:gd name="connsiteY0" fmla="*/ 0 h 9836965"/>
              <a:gd name="connsiteX1" fmla="*/ 10832976 w 10849257"/>
              <a:gd name="connsiteY1" fmla="*/ 3724481 h 9836965"/>
              <a:gd name="connsiteX2" fmla="*/ 10849223 w 10849257"/>
              <a:gd name="connsiteY2" fmla="*/ 9836965 h 9836965"/>
              <a:gd name="connsiteX3" fmla="*/ 0 w 10849257"/>
              <a:gd name="connsiteY3" fmla="*/ 9808750 h 9836965"/>
              <a:gd name="connsiteX4" fmla="*/ 1367405 w 10849257"/>
              <a:gd name="connsiteY4" fmla="*/ 5189751 h 9836965"/>
              <a:gd name="connsiteX5" fmla="*/ 6385627 w 10849257"/>
              <a:gd name="connsiteY5" fmla="*/ 0 h 9836965"/>
              <a:gd name="connsiteX0" fmla="*/ 6385627 w 10849257"/>
              <a:gd name="connsiteY0" fmla="*/ 0 h 9805215"/>
              <a:gd name="connsiteX1" fmla="*/ 10832976 w 10849257"/>
              <a:gd name="connsiteY1" fmla="*/ 3692731 h 9805215"/>
              <a:gd name="connsiteX2" fmla="*/ 10849223 w 10849257"/>
              <a:gd name="connsiteY2" fmla="*/ 9805215 h 9805215"/>
              <a:gd name="connsiteX3" fmla="*/ 0 w 10849257"/>
              <a:gd name="connsiteY3" fmla="*/ 9777000 h 9805215"/>
              <a:gd name="connsiteX4" fmla="*/ 1367405 w 10849257"/>
              <a:gd name="connsiteY4" fmla="*/ 5158001 h 9805215"/>
              <a:gd name="connsiteX5" fmla="*/ 6385627 w 10849257"/>
              <a:gd name="connsiteY5" fmla="*/ 0 h 9805215"/>
              <a:gd name="connsiteX0" fmla="*/ 6385627 w 10849257"/>
              <a:gd name="connsiteY0" fmla="*/ 0 h 9805215"/>
              <a:gd name="connsiteX1" fmla="*/ 10832976 w 10849257"/>
              <a:gd name="connsiteY1" fmla="*/ 3692731 h 9805215"/>
              <a:gd name="connsiteX2" fmla="*/ 10849223 w 10849257"/>
              <a:gd name="connsiteY2" fmla="*/ 9805215 h 9805215"/>
              <a:gd name="connsiteX3" fmla="*/ 0 w 10849257"/>
              <a:gd name="connsiteY3" fmla="*/ 9777000 h 9805215"/>
              <a:gd name="connsiteX4" fmla="*/ 1367405 w 10849257"/>
              <a:gd name="connsiteY4" fmla="*/ 5158001 h 9805215"/>
              <a:gd name="connsiteX5" fmla="*/ 6385627 w 10849257"/>
              <a:gd name="connsiteY5" fmla="*/ 0 h 9805215"/>
              <a:gd name="connsiteX0" fmla="*/ 6385627 w 10849257"/>
              <a:gd name="connsiteY0" fmla="*/ 10169 h 9815384"/>
              <a:gd name="connsiteX1" fmla="*/ 10832976 w 10849257"/>
              <a:gd name="connsiteY1" fmla="*/ 3702900 h 9815384"/>
              <a:gd name="connsiteX2" fmla="*/ 10849223 w 10849257"/>
              <a:gd name="connsiteY2" fmla="*/ 9815384 h 9815384"/>
              <a:gd name="connsiteX3" fmla="*/ 0 w 10849257"/>
              <a:gd name="connsiteY3" fmla="*/ 9787169 h 9815384"/>
              <a:gd name="connsiteX4" fmla="*/ 1367405 w 10849257"/>
              <a:gd name="connsiteY4" fmla="*/ 5168170 h 9815384"/>
              <a:gd name="connsiteX5" fmla="*/ 2996796 w 10849257"/>
              <a:gd name="connsiteY5" fmla="*/ 2687524 h 9815384"/>
              <a:gd name="connsiteX6" fmla="*/ 6385627 w 10849257"/>
              <a:gd name="connsiteY6" fmla="*/ 10169 h 9815384"/>
              <a:gd name="connsiteX0" fmla="*/ 6385627 w 10849257"/>
              <a:gd name="connsiteY0" fmla="*/ 14246 h 9819461"/>
              <a:gd name="connsiteX1" fmla="*/ 10832976 w 10849257"/>
              <a:gd name="connsiteY1" fmla="*/ 3706977 h 9819461"/>
              <a:gd name="connsiteX2" fmla="*/ 10849223 w 10849257"/>
              <a:gd name="connsiteY2" fmla="*/ 9819461 h 9819461"/>
              <a:gd name="connsiteX3" fmla="*/ 0 w 10849257"/>
              <a:gd name="connsiteY3" fmla="*/ 9791246 h 9819461"/>
              <a:gd name="connsiteX4" fmla="*/ 1367405 w 10849257"/>
              <a:gd name="connsiteY4" fmla="*/ 5172247 h 9819461"/>
              <a:gd name="connsiteX5" fmla="*/ 3516749 w 10849257"/>
              <a:gd name="connsiteY5" fmla="*/ 2082001 h 9819461"/>
              <a:gd name="connsiteX6" fmla="*/ 6385627 w 10849257"/>
              <a:gd name="connsiteY6" fmla="*/ 14246 h 9819461"/>
              <a:gd name="connsiteX0" fmla="*/ 6385627 w 10849257"/>
              <a:gd name="connsiteY0" fmla="*/ 14246 h 9819461"/>
              <a:gd name="connsiteX1" fmla="*/ 10832976 w 10849257"/>
              <a:gd name="connsiteY1" fmla="*/ 3706977 h 9819461"/>
              <a:gd name="connsiteX2" fmla="*/ 10849223 w 10849257"/>
              <a:gd name="connsiteY2" fmla="*/ 9819461 h 9819461"/>
              <a:gd name="connsiteX3" fmla="*/ 0 w 10849257"/>
              <a:gd name="connsiteY3" fmla="*/ 9791246 h 9819461"/>
              <a:gd name="connsiteX4" fmla="*/ 928135 w 10849257"/>
              <a:gd name="connsiteY4" fmla="*/ 6167330 h 9819461"/>
              <a:gd name="connsiteX5" fmla="*/ 3516749 w 10849257"/>
              <a:gd name="connsiteY5" fmla="*/ 2082001 h 9819461"/>
              <a:gd name="connsiteX6" fmla="*/ 6385627 w 10849257"/>
              <a:gd name="connsiteY6" fmla="*/ 14246 h 9819461"/>
              <a:gd name="connsiteX0" fmla="*/ 6385627 w 10849257"/>
              <a:gd name="connsiteY0" fmla="*/ 14246 h 9819461"/>
              <a:gd name="connsiteX1" fmla="*/ 10832976 w 10849257"/>
              <a:gd name="connsiteY1" fmla="*/ 3706977 h 9819461"/>
              <a:gd name="connsiteX2" fmla="*/ 10849223 w 10849257"/>
              <a:gd name="connsiteY2" fmla="*/ 9819461 h 9819461"/>
              <a:gd name="connsiteX3" fmla="*/ 0 w 10849257"/>
              <a:gd name="connsiteY3" fmla="*/ 9791246 h 9819461"/>
              <a:gd name="connsiteX4" fmla="*/ 928135 w 10849257"/>
              <a:gd name="connsiteY4" fmla="*/ 6167330 h 9819461"/>
              <a:gd name="connsiteX5" fmla="*/ 3516749 w 10849257"/>
              <a:gd name="connsiteY5" fmla="*/ 2082001 h 9819461"/>
              <a:gd name="connsiteX6" fmla="*/ 6385627 w 10849257"/>
              <a:gd name="connsiteY6" fmla="*/ 14246 h 9819461"/>
              <a:gd name="connsiteX0" fmla="*/ 6385627 w 10849257"/>
              <a:gd name="connsiteY0" fmla="*/ 14246 h 9819461"/>
              <a:gd name="connsiteX1" fmla="*/ 10832976 w 10849257"/>
              <a:gd name="connsiteY1" fmla="*/ 3706977 h 9819461"/>
              <a:gd name="connsiteX2" fmla="*/ 10849223 w 10849257"/>
              <a:gd name="connsiteY2" fmla="*/ 9819461 h 9819461"/>
              <a:gd name="connsiteX3" fmla="*/ 0 w 10849257"/>
              <a:gd name="connsiteY3" fmla="*/ 9791246 h 9819461"/>
              <a:gd name="connsiteX4" fmla="*/ 928135 w 10849257"/>
              <a:gd name="connsiteY4" fmla="*/ 6167330 h 9819461"/>
              <a:gd name="connsiteX5" fmla="*/ 3516749 w 10849257"/>
              <a:gd name="connsiteY5" fmla="*/ 2082001 h 9819461"/>
              <a:gd name="connsiteX6" fmla="*/ 6385627 w 10849257"/>
              <a:gd name="connsiteY6" fmla="*/ 14246 h 9819461"/>
              <a:gd name="connsiteX0" fmla="*/ 6385627 w 10849257"/>
              <a:gd name="connsiteY0" fmla="*/ 14246 h 9819461"/>
              <a:gd name="connsiteX1" fmla="*/ 10832976 w 10849257"/>
              <a:gd name="connsiteY1" fmla="*/ 3706977 h 9819461"/>
              <a:gd name="connsiteX2" fmla="*/ 10849223 w 10849257"/>
              <a:gd name="connsiteY2" fmla="*/ 9819461 h 9819461"/>
              <a:gd name="connsiteX3" fmla="*/ 0 w 10849257"/>
              <a:gd name="connsiteY3" fmla="*/ 9791246 h 9819461"/>
              <a:gd name="connsiteX4" fmla="*/ 921785 w 10849257"/>
              <a:gd name="connsiteY4" fmla="*/ 6205430 h 9819461"/>
              <a:gd name="connsiteX5" fmla="*/ 3516749 w 10849257"/>
              <a:gd name="connsiteY5" fmla="*/ 2082001 h 9819461"/>
              <a:gd name="connsiteX6" fmla="*/ 6385627 w 10849257"/>
              <a:gd name="connsiteY6" fmla="*/ 14246 h 9819461"/>
              <a:gd name="connsiteX0" fmla="*/ 6385627 w 10849257"/>
              <a:gd name="connsiteY0" fmla="*/ 14246 h 9819461"/>
              <a:gd name="connsiteX1" fmla="*/ 10832976 w 10849257"/>
              <a:gd name="connsiteY1" fmla="*/ 3706977 h 9819461"/>
              <a:gd name="connsiteX2" fmla="*/ 10849223 w 10849257"/>
              <a:gd name="connsiteY2" fmla="*/ 9819461 h 9819461"/>
              <a:gd name="connsiteX3" fmla="*/ 0 w 10849257"/>
              <a:gd name="connsiteY3" fmla="*/ 9791246 h 9819461"/>
              <a:gd name="connsiteX4" fmla="*/ 921785 w 10849257"/>
              <a:gd name="connsiteY4" fmla="*/ 6205430 h 9819461"/>
              <a:gd name="connsiteX5" fmla="*/ 3516749 w 10849257"/>
              <a:gd name="connsiteY5" fmla="*/ 2082001 h 9819461"/>
              <a:gd name="connsiteX6" fmla="*/ 6385627 w 10849257"/>
              <a:gd name="connsiteY6" fmla="*/ 14246 h 9819461"/>
              <a:gd name="connsiteX0" fmla="*/ 6385627 w 10849257"/>
              <a:gd name="connsiteY0" fmla="*/ 14246 h 9819461"/>
              <a:gd name="connsiteX1" fmla="*/ 10832976 w 10849257"/>
              <a:gd name="connsiteY1" fmla="*/ 3706977 h 9819461"/>
              <a:gd name="connsiteX2" fmla="*/ 10849223 w 10849257"/>
              <a:gd name="connsiteY2" fmla="*/ 9819461 h 9819461"/>
              <a:gd name="connsiteX3" fmla="*/ 0 w 10849257"/>
              <a:gd name="connsiteY3" fmla="*/ 9791246 h 9819461"/>
              <a:gd name="connsiteX4" fmla="*/ 921785 w 10849257"/>
              <a:gd name="connsiteY4" fmla="*/ 6205430 h 9819461"/>
              <a:gd name="connsiteX5" fmla="*/ 3516749 w 10849257"/>
              <a:gd name="connsiteY5" fmla="*/ 2082001 h 9819461"/>
              <a:gd name="connsiteX6" fmla="*/ 6385627 w 10849257"/>
              <a:gd name="connsiteY6" fmla="*/ 14246 h 9819461"/>
              <a:gd name="connsiteX0" fmla="*/ 6385627 w 10849257"/>
              <a:gd name="connsiteY0" fmla="*/ 14246 h 9819461"/>
              <a:gd name="connsiteX1" fmla="*/ 10832976 w 10849257"/>
              <a:gd name="connsiteY1" fmla="*/ 3706977 h 9819461"/>
              <a:gd name="connsiteX2" fmla="*/ 10849223 w 10849257"/>
              <a:gd name="connsiteY2" fmla="*/ 9819461 h 9819461"/>
              <a:gd name="connsiteX3" fmla="*/ 0 w 10849257"/>
              <a:gd name="connsiteY3" fmla="*/ 9791246 h 9819461"/>
              <a:gd name="connsiteX4" fmla="*/ 921785 w 10849257"/>
              <a:gd name="connsiteY4" fmla="*/ 6205430 h 9819461"/>
              <a:gd name="connsiteX5" fmla="*/ 3516749 w 10849257"/>
              <a:gd name="connsiteY5" fmla="*/ 2082001 h 9819461"/>
              <a:gd name="connsiteX6" fmla="*/ 6385627 w 10849257"/>
              <a:gd name="connsiteY6" fmla="*/ 14246 h 9819461"/>
              <a:gd name="connsiteX0" fmla="*/ 6385627 w 10849257"/>
              <a:gd name="connsiteY0" fmla="*/ 14246 h 9819461"/>
              <a:gd name="connsiteX1" fmla="*/ 10832976 w 10849257"/>
              <a:gd name="connsiteY1" fmla="*/ 3706977 h 9819461"/>
              <a:gd name="connsiteX2" fmla="*/ 10849223 w 10849257"/>
              <a:gd name="connsiteY2" fmla="*/ 9819461 h 9819461"/>
              <a:gd name="connsiteX3" fmla="*/ 0 w 10849257"/>
              <a:gd name="connsiteY3" fmla="*/ 9791246 h 9819461"/>
              <a:gd name="connsiteX4" fmla="*/ 921785 w 10849257"/>
              <a:gd name="connsiteY4" fmla="*/ 6205430 h 9819461"/>
              <a:gd name="connsiteX5" fmla="*/ 3516749 w 10849257"/>
              <a:gd name="connsiteY5" fmla="*/ 2082001 h 9819461"/>
              <a:gd name="connsiteX6" fmla="*/ 6385627 w 10849257"/>
              <a:gd name="connsiteY6" fmla="*/ 14246 h 9819461"/>
              <a:gd name="connsiteX0" fmla="*/ 6385627 w 10849257"/>
              <a:gd name="connsiteY0" fmla="*/ 0 h 9805215"/>
              <a:gd name="connsiteX1" fmla="*/ 10832976 w 10849257"/>
              <a:gd name="connsiteY1" fmla="*/ 3692731 h 9805215"/>
              <a:gd name="connsiteX2" fmla="*/ 10849223 w 10849257"/>
              <a:gd name="connsiteY2" fmla="*/ 9805215 h 9805215"/>
              <a:gd name="connsiteX3" fmla="*/ 0 w 10849257"/>
              <a:gd name="connsiteY3" fmla="*/ 9777000 h 9805215"/>
              <a:gd name="connsiteX4" fmla="*/ 921785 w 10849257"/>
              <a:gd name="connsiteY4" fmla="*/ 6191184 h 9805215"/>
              <a:gd name="connsiteX5" fmla="*/ 3516749 w 10849257"/>
              <a:gd name="connsiteY5" fmla="*/ 2067755 h 9805215"/>
              <a:gd name="connsiteX6" fmla="*/ 6385627 w 10849257"/>
              <a:gd name="connsiteY6" fmla="*/ 0 h 9805215"/>
              <a:gd name="connsiteX0" fmla="*/ 6385627 w 10849257"/>
              <a:gd name="connsiteY0" fmla="*/ 0 h 9805215"/>
              <a:gd name="connsiteX1" fmla="*/ 10832976 w 10849257"/>
              <a:gd name="connsiteY1" fmla="*/ 3692731 h 9805215"/>
              <a:gd name="connsiteX2" fmla="*/ 10849223 w 10849257"/>
              <a:gd name="connsiteY2" fmla="*/ 9805215 h 9805215"/>
              <a:gd name="connsiteX3" fmla="*/ 0 w 10849257"/>
              <a:gd name="connsiteY3" fmla="*/ 9777000 h 9805215"/>
              <a:gd name="connsiteX4" fmla="*/ 921785 w 10849257"/>
              <a:gd name="connsiteY4" fmla="*/ 6191184 h 9805215"/>
              <a:gd name="connsiteX5" fmla="*/ 3516749 w 10849257"/>
              <a:gd name="connsiteY5" fmla="*/ 2067755 h 9805215"/>
              <a:gd name="connsiteX6" fmla="*/ 6385627 w 10849257"/>
              <a:gd name="connsiteY6" fmla="*/ 0 h 9805215"/>
              <a:gd name="connsiteX0" fmla="*/ 6385627 w 10849257"/>
              <a:gd name="connsiteY0" fmla="*/ 0 h 9805215"/>
              <a:gd name="connsiteX1" fmla="*/ 10832976 w 10849257"/>
              <a:gd name="connsiteY1" fmla="*/ 3692731 h 9805215"/>
              <a:gd name="connsiteX2" fmla="*/ 10849223 w 10849257"/>
              <a:gd name="connsiteY2" fmla="*/ 9805215 h 9805215"/>
              <a:gd name="connsiteX3" fmla="*/ 0 w 10849257"/>
              <a:gd name="connsiteY3" fmla="*/ 9777000 h 9805215"/>
              <a:gd name="connsiteX4" fmla="*/ 924960 w 10849257"/>
              <a:gd name="connsiteY4" fmla="*/ 6172134 h 9805215"/>
              <a:gd name="connsiteX5" fmla="*/ 3516749 w 10849257"/>
              <a:gd name="connsiteY5" fmla="*/ 2067755 h 9805215"/>
              <a:gd name="connsiteX6" fmla="*/ 6385627 w 10849257"/>
              <a:gd name="connsiteY6" fmla="*/ 0 h 9805215"/>
              <a:gd name="connsiteX0" fmla="*/ 6385627 w 10849257"/>
              <a:gd name="connsiteY0" fmla="*/ 0 h 9805215"/>
              <a:gd name="connsiteX1" fmla="*/ 10832976 w 10849257"/>
              <a:gd name="connsiteY1" fmla="*/ 3692731 h 9805215"/>
              <a:gd name="connsiteX2" fmla="*/ 10849223 w 10849257"/>
              <a:gd name="connsiteY2" fmla="*/ 9805215 h 9805215"/>
              <a:gd name="connsiteX3" fmla="*/ 0 w 10849257"/>
              <a:gd name="connsiteY3" fmla="*/ 9777000 h 9805215"/>
              <a:gd name="connsiteX4" fmla="*/ 924960 w 10849257"/>
              <a:gd name="connsiteY4" fmla="*/ 6172134 h 9805215"/>
              <a:gd name="connsiteX5" fmla="*/ 3526274 w 10849257"/>
              <a:gd name="connsiteY5" fmla="*/ 2070930 h 9805215"/>
              <a:gd name="connsiteX6" fmla="*/ 6385627 w 10849257"/>
              <a:gd name="connsiteY6" fmla="*/ 0 h 9805215"/>
              <a:gd name="connsiteX0" fmla="*/ 6385627 w 10849257"/>
              <a:gd name="connsiteY0" fmla="*/ 0 h 9805215"/>
              <a:gd name="connsiteX1" fmla="*/ 10832976 w 10849257"/>
              <a:gd name="connsiteY1" fmla="*/ 3692731 h 9805215"/>
              <a:gd name="connsiteX2" fmla="*/ 10849223 w 10849257"/>
              <a:gd name="connsiteY2" fmla="*/ 9805215 h 9805215"/>
              <a:gd name="connsiteX3" fmla="*/ 0 w 10849257"/>
              <a:gd name="connsiteY3" fmla="*/ 9777000 h 9805215"/>
              <a:gd name="connsiteX4" fmla="*/ 924960 w 10849257"/>
              <a:gd name="connsiteY4" fmla="*/ 6172134 h 9805215"/>
              <a:gd name="connsiteX5" fmla="*/ 3526274 w 10849257"/>
              <a:gd name="connsiteY5" fmla="*/ 2070930 h 9805215"/>
              <a:gd name="connsiteX6" fmla="*/ 6385627 w 10849257"/>
              <a:gd name="connsiteY6" fmla="*/ 0 h 9805215"/>
              <a:gd name="connsiteX0" fmla="*/ 6385627 w 10849257"/>
              <a:gd name="connsiteY0" fmla="*/ 0 h 9805215"/>
              <a:gd name="connsiteX1" fmla="*/ 10832976 w 10849257"/>
              <a:gd name="connsiteY1" fmla="*/ 3692731 h 9805215"/>
              <a:gd name="connsiteX2" fmla="*/ 10849223 w 10849257"/>
              <a:gd name="connsiteY2" fmla="*/ 9805215 h 9805215"/>
              <a:gd name="connsiteX3" fmla="*/ 0 w 10849257"/>
              <a:gd name="connsiteY3" fmla="*/ 9777000 h 9805215"/>
              <a:gd name="connsiteX4" fmla="*/ 924960 w 10849257"/>
              <a:gd name="connsiteY4" fmla="*/ 6172134 h 9805215"/>
              <a:gd name="connsiteX5" fmla="*/ 3532624 w 10849257"/>
              <a:gd name="connsiteY5" fmla="*/ 2055055 h 9805215"/>
              <a:gd name="connsiteX6" fmla="*/ 6385627 w 10849257"/>
              <a:gd name="connsiteY6" fmla="*/ 0 h 9805215"/>
              <a:gd name="connsiteX0" fmla="*/ 6385627 w 10849257"/>
              <a:gd name="connsiteY0" fmla="*/ 0 h 9805215"/>
              <a:gd name="connsiteX1" fmla="*/ 10832976 w 10849257"/>
              <a:gd name="connsiteY1" fmla="*/ 3692731 h 9805215"/>
              <a:gd name="connsiteX2" fmla="*/ 10849223 w 10849257"/>
              <a:gd name="connsiteY2" fmla="*/ 9805215 h 9805215"/>
              <a:gd name="connsiteX3" fmla="*/ 0 w 10849257"/>
              <a:gd name="connsiteY3" fmla="*/ 9777000 h 9805215"/>
              <a:gd name="connsiteX4" fmla="*/ 924960 w 10849257"/>
              <a:gd name="connsiteY4" fmla="*/ 6172134 h 9805215"/>
              <a:gd name="connsiteX5" fmla="*/ 3532624 w 10849257"/>
              <a:gd name="connsiteY5" fmla="*/ 2055055 h 9805215"/>
              <a:gd name="connsiteX6" fmla="*/ 6385627 w 10849257"/>
              <a:gd name="connsiteY6" fmla="*/ 0 h 9805215"/>
              <a:gd name="connsiteX0" fmla="*/ 6385627 w 10849257"/>
              <a:gd name="connsiteY0" fmla="*/ 0 h 9805215"/>
              <a:gd name="connsiteX1" fmla="*/ 10832976 w 10849257"/>
              <a:gd name="connsiteY1" fmla="*/ 3692731 h 9805215"/>
              <a:gd name="connsiteX2" fmla="*/ 10849223 w 10849257"/>
              <a:gd name="connsiteY2" fmla="*/ 9805215 h 9805215"/>
              <a:gd name="connsiteX3" fmla="*/ 0 w 10849257"/>
              <a:gd name="connsiteY3" fmla="*/ 9777000 h 9805215"/>
              <a:gd name="connsiteX4" fmla="*/ 924960 w 10849257"/>
              <a:gd name="connsiteY4" fmla="*/ 6172134 h 9805215"/>
              <a:gd name="connsiteX5" fmla="*/ 3532624 w 10849257"/>
              <a:gd name="connsiteY5" fmla="*/ 2055055 h 9805215"/>
              <a:gd name="connsiteX6" fmla="*/ 6385627 w 10849257"/>
              <a:gd name="connsiteY6" fmla="*/ 0 h 9805215"/>
              <a:gd name="connsiteX0" fmla="*/ 6385627 w 10849257"/>
              <a:gd name="connsiteY0" fmla="*/ 0 h 9805215"/>
              <a:gd name="connsiteX1" fmla="*/ 10832976 w 10849257"/>
              <a:gd name="connsiteY1" fmla="*/ 3692731 h 9805215"/>
              <a:gd name="connsiteX2" fmla="*/ 10849223 w 10849257"/>
              <a:gd name="connsiteY2" fmla="*/ 9805215 h 9805215"/>
              <a:gd name="connsiteX3" fmla="*/ 0 w 10849257"/>
              <a:gd name="connsiteY3" fmla="*/ 9777000 h 9805215"/>
              <a:gd name="connsiteX4" fmla="*/ 924960 w 10849257"/>
              <a:gd name="connsiteY4" fmla="*/ 6172134 h 9805215"/>
              <a:gd name="connsiteX5" fmla="*/ 3532624 w 10849257"/>
              <a:gd name="connsiteY5" fmla="*/ 2055055 h 9805215"/>
              <a:gd name="connsiteX6" fmla="*/ 6385627 w 10849257"/>
              <a:gd name="connsiteY6" fmla="*/ 0 h 9805215"/>
              <a:gd name="connsiteX0" fmla="*/ 6391977 w 10855607"/>
              <a:gd name="connsiteY0" fmla="*/ 0 h 9805215"/>
              <a:gd name="connsiteX1" fmla="*/ 10839326 w 10855607"/>
              <a:gd name="connsiteY1" fmla="*/ 3692731 h 9805215"/>
              <a:gd name="connsiteX2" fmla="*/ 10855573 w 10855607"/>
              <a:gd name="connsiteY2" fmla="*/ 9805215 h 9805215"/>
              <a:gd name="connsiteX3" fmla="*/ 0 w 10855607"/>
              <a:gd name="connsiteY3" fmla="*/ 9770650 h 9805215"/>
              <a:gd name="connsiteX4" fmla="*/ 931310 w 10855607"/>
              <a:gd name="connsiteY4" fmla="*/ 6172134 h 9805215"/>
              <a:gd name="connsiteX5" fmla="*/ 3538974 w 10855607"/>
              <a:gd name="connsiteY5" fmla="*/ 2055055 h 9805215"/>
              <a:gd name="connsiteX6" fmla="*/ 6391977 w 10855607"/>
              <a:gd name="connsiteY6" fmla="*/ 0 h 9805215"/>
              <a:gd name="connsiteX0" fmla="*/ 6391977 w 10855607"/>
              <a:gd name="connsiteY0" fmla="*/ 0 h 9805215"/>
              <a:gd name="connsiteX1" fmla="*/ 10839326 w 10855607"/>
              <a:gd name="connsiteY1" fmla="*/ 3692731 h 9805215"/>
              <a:gd name="connsiteX2" fmla="*/ 10855573 w 10855607"/>
              <a:gd name="connsiteY2" fmla="*/ 9805215 h 9805215"/>
              <a:gd name="connsiteX3" fmla="*/ 0 w 10855607"/>
              <a:gd name="connsiteY3" fmla="*/ 9770650 h 9805215"/>
              <a:gd name="connsiteX4" fmla="*/ 931310 w 10855607"/>
              <a:gd name="connsiteY4" fmla="*/ 6172134 h 9805215"/>
              <a:gd name="connsiteX5" fmla="*/ 3538974 w 10855607"/>
              <a:gd name="connsiteY5" fmla="*/ 2055055 h 9805215"/>
              <a:gd name="connsiteX6" fmla="*/ 6391977 w 10855607"/>
              <a:gd name="connsiteY6" fmla="*/ 0 h 9805215"/>
              <a:gd name="connsiteX0" fmla="*/ 6391977 w 10855607"/>
              <a:gd name="connsiteY0" fmla="*/ 0 h 9805215"/>
              <a:gd name="connsiteX1" fmla="*/ 10839326 w 10855607"/>
              <a:gd name="connsiteY1" fmla="*/ 3692731 h 9805215"/>
              <a:gd name="connsiteX2" fmla="*/ 10855573 w 10855607"/>
              <a:gd name="connsiteY2" fmla="*/ 9805215 h 9805215"/>
              <a:gd name="connsiteX3" fmla="*/ 0 w 10855607"/>
              <a:gd name="connsiteY3" fmla="*/ 9770650 h 9805215"/>
              <a:gd name="connsiteX4" fmla="*/ 931310 w 10855607"/>
              <a:gd name="connsiteY4" fmla="*/ 6172134 h 9805215"/>
              <a:gd name="connsiteX5" fmla="*/ 3538974 w 10855607"/>
              <a:gd name="connsiteY5" fmla="*/ 2055055 h 9805215"/>
              <a:gd name="connsiteX6" fmla="*/ 6391977 w 10855607"/>
              <a:gd name="connsiteY6" fmla="*/ 0 h 9805215"/>
              <a:gd name="connsiteX0" fmla="*/ 6391977 w 10855607"/>
              <a:gd name="connsiteY0" fmla="*/ 0 h 9805215"/>
              <a:gd name="connsiteX1" fmla="*/ 10839326 w 10855607"/>
              <a:gd name="connsiteY1" fmla="*/ 3692731 h 9805215"/>
              <a:gd name="connsiteX2" fmla="*/ 10855573 w 10855607"/>
              <a:gd name="connsiteY2" fmla="*/ 9805215 h 9805215"/>
              <a:gd name="connsiteX3" fmla="*/ 0 w 10855607"/>
              <a:gd name="connsiteY3" fmla="*/ 9770650 h 9805215"/>
              <a:gd name="connsiteX4" fmla="*/ 931310 w 10855607"/>
              <a:gd name="connsiteY4" fmla="*/ 6172134 h 9805215"/>
              <a:gd name="connsiteX5" fmla="*/ 3538974 w 10855607"/>
              <a:gd name="connsiteY5" fmla="*/ 2055055 h 9805215"/>
              <a:gd name="connsiteX6" fmla="*/ 6391977 w 10855607"/>
              <a:gd name="connsiteY6" fmla="*/ 0 h 9805215"/>
              <a:gd name="connsiteX0" fmla="*/ 6391977 w 10855607"/>
              <a:gd name="connsiteY0" fmla="*/ 0 h 9805215"/>
              <a:gd name="connsiteX1" fmla="*/ 10839326 w 10855607"/>
              <a:gd name="connsiteY1" fmla="*/ 3692731 h 9805215"/>
              <a:gd name="connsiteX2" fmla="*/ 10855573 w 10855607"/>
              <a:gd name="connsiteY2" fmla="*/ 9805215 h 9805215"/>
              <a:gd name="connsiteX3" fmla="*/ 0 w 10855607"/>
              <a:gd name="connsiteY3" fmla="*/ 9770650 h 9805215"/>
              <a:gd name="connsiteX4" fmla="*/ 877335 w 10855607"/>
              <a:gd name="connsiteY4" fmla="*/ 6324534 h 9805215"/>
              <a:gd name="connsiteX5" fmla="*/ 3538974 w 10855607"/>
              <a:gd name="connsiteY5" fmla="*/ 2055055 h 9805215"/>
              <a:gd name="connsiteX6" fmla="*/ 6391977 w 10855607"/>
              <a:gd name="connsiteY6" fmla="*/ 0 h 9805215"/>
              <a:gd name="connsiteX0" fmla="*/ 6391977 w 10855607"/>
              <a:gd name="connsiteY0" fmla="*/ 0 h 9805215"/>
              <a:gd name="connsiteX1" fmla="*/ 10839326 w 10855607"/>
              <a:gd name="connsiteY1" fmla="*/ 3692731 h 9805215"/>
              <a:gd name="connsiteX2" fmla="*/ 10855573 w 10855607"/>
              <a:gd name="connsiteY2" fmla="*/ 9805215 h 9805215"/>
              <a:gd name="connsiteX3" fmla="*/ 0 w 10855607"/>
              <a:gd name="connsiteY3" fmla="*/ 9770650 h 9805215"/>
              <a:gd name="connsiteX4" fmla="*/ 877335 w 10855607"/>
              <a:gd name="connsiteY4" fmla="*/ 6324534 h 9805215"/>
              <a:gd name="connsiteX5" fmla="*/ 3538974 w 10855607"/>
              <a:gd name="connsiteY5" fmla="*/ 2055055 h 9805215"/>
              <a:gd name="connsiteX6" fmla="*/ 6391977 w 10855607"/>
              <a:gd name="connsiteY6" fmla="*/ 0 h 9805215"/>
              <a:gd name="connsiteX0" fmla="*/ 6391977 w 10855607"/>
              <a:gd name="connsiteY0" fmla="*/ 0 h 9805215"/>
              <a:gd name="connsiteX1" fmla="*/ 10839326 w 10855607"/>
              <a:gd name="connsiteY1" fmla="*/ 3692731 h 9805215"/>
              <a:gd name="connsiteX2" fmla="*/ 10855573 w 10855607"/>
              <a:gd name="connsiteY2" fmla="*/ 9805215 h 9805215"/>
              <a:gd name="connsiteX3" fmla="*/ 0 w 10855607"/>
              <a:gd name="connsiteY3" fmla="*/ 9770650 h 9805215"/>
              <a:gd name="connsiteX4" fmla="*/ 877335 w 10855607"/>
              <a:gd name="connsiteY4" fmla="*/ 6324534 h 9805215"/>
              <a:gd name="connsiteX5" fmla="*/ 3538974 w 10855607"/>
              <a:gd name="connsiteY5" fmla="*/ 2055055 h 9805215"/>
              <a:gd name="connsiteX6" fmla="*/ 6391977 w 10855607"/>
              <a:gd name="connsiteY6" fmla="*/ 0 h 9805215"/>
              <a:gd name="connsiteX0" fmla="*/ 6391977 w 10855607"/>
              <a:gd name="connsiteY0" fmla="*/ 0 h 9805215"/>
              <a:gd name="connsiteX1" fmla="*/ 10839326 w 10855607"/>
              <a:gd name="connsiteY1" fmla="*/ 3692731 h 9805215"/>
              <a:gd name="connsiteX2" fmla="*/ 10855573 w 10855607"/>
              <a:gd name="connsiteY2" fmla="*/ 9805215 h 9805215"/>
              <a:gd name="connsiteX3" fmla="*/ 0 w 10855607"/>
              <a:gd name="connsiteY3" fmla="*/ 9770650 h 9805215"/>
              <a:gd name="connsiteX4" fmla="*/ 877335 w 10855607"/>
              <a:gd name="connsiteY4" fmla="*/ 6324534 h 9805215"/>
              <a:gd name="connsiteX5" fmla="*/ 3538974 w 10855607"/>
              <a:gd name="connsiteY5" fmla="*/ 2055055 h 9805215"/>
              <a:gd name="connsiteX6" fmla="*/ 6391977 w 10855607"/>
              <a:gd name="connsiteY6" fmla="*/ 0 h 9805215"/>
              <a:gd name="connsiteX0" fmla="*/ 6391977 w 10855607"/>
              <a:gd name="connsiteY0" fmla="*/ 0 h 9805215"/>
              <a:gd name="connsiteX1" fmla="*/ 10839326 w 10855607"/>
              <a:gd name="connsiteY1" fmla="*/ 3692731 h 9805215"/>
              <a:gd name="connsiteX2" fmla="*/ 10855573 w 10855607"/>
              <a:gd name="connsiteY2" fmla="*/ 9805215 h 9805215"/>
              <a:gd name="connsiteX3" fmla="*/ 0 w 10855607"/>
              <a:gd name="connsiteY3" fmla="*/ 9770650 h 9805215"/>
              <a:gd name="connsiteX4" fmla="*/ 877335 w 10855607"/>
              <a:gd name="connsiteY4" fmla="*/ 6324534 h 9805215"/>
              <a:gd name="connsiteX5" fmla="*/ 3538974 w 10855607"/>
              <a:gd name="connsiteY5" fmla="*/ 2055055 h 9805215"/>
              <a:gd name="connsiteX6" fmla="*/ 6391977 w 10855607"/>
              <a:gd name="connsiteY6" fmla="*/ 0 h 9805215"/>
              <a:gd name="connsiteX0" fmla="*/ 6391977 w 10855607"/>
              <a:gd name="connsiteY0" fmla="*/ 0 h 9805215"/>
              <a:gd name="connsiteX1" fmla="*/ 10839326 w 10855607"/>
              <a:gd name="connsiteY1" fmla="*/ 3692731 h 9805215"/>
              <a:gd name="connsiteX2" fmla="*/ 10855573 w 10855607"/>
              <a:gd name="connsiteY2" fmla="*/ 9805215 h 9805215"/>
              <a:gd name="connsiteX3" fmla="*/ 0 w 10855607"/>
              <a:gd name="connsiteY3" fmla="*/ 9770650 h 9805215"/>
              <a:gd name="connsiteX4" fmla="*/ 877335 w 10855607"/>
              <a:gd name="connsiteY4" fmla="*/ 6324534 h 9805215"/>
              <a:gd name="connsiteX5" fmla="*/ 3538974 w 10855607"/>
              <a:gd name="connsiteY5" fmla="*/ 2055055 h 9805215"/>
              <a:gd name="connsiteX6" fmla="*/ 6391977 w 10855607"/>
              <a:gd name="connsiteY6" fmla="*/ 0 h 9805215"/>
              <a:gd name="connsiteX0" fmla="*/ 6391977 w 10855607"/>
              <a:gd name="connsiteY0" fmla="*/ 0 h 9805215"/>
              <a:gd name="connsiteX1" fmla="*/ 10839326 w 10855607"/>
              <a:gd name="connsiteY1" fmla="*/ 3692731 h 9805215"/>
              <a:gd name="connsiteX2" fmla="*/ 10855573 w 10855607"/>
              <a:gd name="connsiteY2" fmla="*/ 9805215 h 9805215"/>
              <a:gd name="connsiteX3" fmla="*/ 0 w 10855607"/>
              <a:gd name="connsiteY3" fmla="*/ 9770650 h 9805215"/>
              <a:gd name="connsiteX4" fmla="*/ 877335 w 10855607"/>
              <a:gd name="connsiteY4" fmla="*/ 6324534 h 9805215"/>
              <a:gd name="connsiteX5" fmla="*/ 3538974 w 10855607"/>
              <a:gd name="connsiteY5" fmla="*/ 2055055 h 9805215"/>
              <a:gd name="connsiteX6" fmla="*/ 6391977 w 10855607"/>
              <a:gd name="connsiteY6" fmla="*/ 0 h 9805215"/>
              <a:gd name="connsiteX0" fmla="*/ 6391977 w 10855607"/>
              <a:gd name="connsiteY0" fmla="*/ 0 h 9805215"/>
              <a:gd name="connsiteX1" fmla="*/ 10839326 w 10855607"/>
              <a:gd name="connsiteY1" fmla="*/ 3692731 h 9805215"/>
              <a:gd name="connsiteX2" fmla="*/ 10855573 w 10855607"/>
              <a:gd name="connsiteY2" fmla="*/ 9805215 h 9805215"/>
              <a:gd name="connsiteX3" fmla="*/ 0 w 10855607"/>
              <a:gd name="connsiteY3" fmla="*/ 9770650 h 9805215"/>
              <a:gd name="connsiteX4" fmla="*/ 877335 w 10855607"/>
              <a:gd name="connsiteY4" fmla="*/ 6324534 h 9805215"/>
              <a:gd name="connsiteX5" fmla="*/ 3538974 w 10855607"/>
              <a:gd name="connsiteY5" fmla="*/ 2055055 h 9805215"/>
              <a:gd name="connsiteX6" fmla="*/ 6391977 w 10855607"/>
              <a:gd name="connsiteY6" fmla="*/ 0 h 9805215"/>
              <a:gd name="connsiteX0" fmla="*/ 6391977 w 10855573"/>
              <a:gd name="connsiteY0" fmla="*/ 0 h 9805215"/>
              <a:gd name="connsiteX1" fmla="*/ 8385238 w 10855573"/>
              <a:gd name="connsiteY1" fmla="*/ 1655501 h 9805215"/>
              <a:gd name="connsiteX2" fmla="*/ 10855573 w 10855573"/>
              <a:gd name="connsiteY2" fmla="*/ 9805215 h 9805215"/>
              <a:gd name="connsiteX3" fmla="*/ 0 w 10855573"/>
              <a:gd name="connsiteY3" fmla="*/ 9770650 h 9805215"/>
              <a:gd name="connsiteX4" fmla="*/ 877335 w 10855573"/>
              <a:gd name="connsiteY4" fmla="*/ 6324534 h 9805215"/>
              <a:gd name="connsiteX5" fmla="*/ 3538974 w 10855573"/>
              <a:gd name="connsiteY5" fmla="*/ 2055055 h 9805215"/>
              <a:gd name="connsiteX6" fmla="*/ 6391977 w 10855573"/>
              <a:gd name="connsiteY6" fmla="*/ 0 h 9805215"/>
              <a:gd name="connsiteX0" fmla="*/ 6391977 w 8388161"/>
              <a:gd name="connsiteY0" fmla="*/ 0 h 9798491"/>
              <a:gd name="connsiteX1" fmla="*/ 8385238 w 8388161"/>
              <a:gd name="connsiteY1" fmla="*/ 1655501 h 9798491"/>
              <a:gd name="connsiteX2" fmla="*/ 8388037 w 8388161"/>
              <a:gd name="connsiteY2" fmla="*/ 9798491 h 9798491"/>
              <a:gd name="connsiteX3" fmla="*/ 0 w 8388161"/>
              <a:gd name="connsiteY3" fmla="*/ 9770650 h 9798491"/>
              <a:gd name="connsiteX4" fmla="*/ 877335 w 8388161"/>
              <a:gd name="connsiteY4" fmla="*/ 6324534 h 9798491"/>
              <a:gd name="connsiteX5" fmla="*/ 3538974 w 8388161"/>
              <a:gd name="connsiteY5" fmla="*/ 2055055 h 9798491"/>
              <a:gd name="connsiteX6" fmla="*/ 6391977 w 8388161"/>
              <a:gd name="connsiteY6" fmla="*/ 0 h 9798491"/>
              <a:gd name="connsiteX0" fmla="*/ 6391977 w 8385238"/>
              <a:gd name="connsiteY0" fmla="*/ 0 h 9770650"/>
              <a:gd name="connsiteX1" fmla="*/ 8385238 w 8385238"/>
              <a:gd name="connsiteY1" fmla="*/ 1655501 h 9770650"/>
              <a:gd name="connsiteX2" fmla="*/ 8346762 w 8385238"/>
              <a:gd name="connsiteY2" fmla="*/ 9769916 h 9770650"/>
              <a:gd name="connsiteX3" fmla="*/ 0 w 8385238"/>
              <a:gd name="connsiteY3" fmla="*/ 9770650 h 9770650"/>
              <a:gd name="connsiteX4" fmla="*/ 877335 w 8385238"/>
              <a:gd name="connsiteY4" fmla="*/ 6324534 h 9770650"/>
              <a:gd name="connsiteX5" fmla="*/ 3538974 w 8385238"/>
              <a:gd name="connsiteY5" fmla="*/ 2055055 h 9770650"/>
              <a:gd name="connsiteX6" fmla="*/ 6391977 w 8385238"/>
              <a:gd name="connsiteY6" fmla="*/ 0 h 9770650"/>
              <a:gd name="connsiteX0" fmla="*/ 6391977 w 8346886"/>
              <a:gd name="connsiteY0" fmla="*/ 0 h 9770650"/>
              <a:gd name="connsiteX1" fmla="*/ 8343963 w 8346886"/>
              <a:gd name="connsiteY1" fmla="*/ 1620576 h 9770650"/>
              <a:gd name="connsiteX2" fmla="*/ 8346762 w 8346886"/>
              <a:gd name="connsiteY2" fmla="*/ 9769916 h 9770650"/>
              <a:gd name="connsiteX3" fmla="*/ 0 w 8346886"/>
              <a:gd name="connsiteY3" fmla="*/ 9770650 h 9770650"/>
              <a:gd name="connsiteX4" fmla="*/ 877335 w 8346886"/>
              <a:gd name="connsiteY4" fmla="*/ 6324534 h 9770650"/>
              <a:gd name="connsiteX5" fmla="*/ 3538974 w 8346886"/>
              <a:gd name="connsiteY5" fmla="*/ 2055055 h 9770650"/>
              <a:gd name="connsiteX6" fmla="*/ 6391977 w 8346886"/>
              <a:gd name="connsiteY6" fmla="*/ 0 h 9770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346886" h="9770650">
                <a:moveTo>
                  <a:pt x="6391977" y="0"/>
                </a:moveTo>
                <a:lnTo>
                  <a:pt x="8343963" y="1620576"/>
                </a:lnTo>
                <a:cubicBezTo>
                  <a:pt x="8343029" y="2171112"/>
                  <a:pt x="8347696" y="9219380"/>
                  <a:pt x="8346762" y="9769916"/>
                </a:cubicBezTo>
                <a:lnTo>
                  <a:pt x="0" y="9770650"/>
                </a:lnTo>
                <a:cubicBezTo>
                  <a:pt x="132134" y="8897023"/>
                  <a:pt x="382756" y="7575542"/>
                  <a:pt x="877335" y="6324534"/>
                </a:cubicBezTo>
                <a:cubicBezTo>
                  <a:pt x="1371914" y="5073526"/>
                  <a:pt x="2016804" y="3651322"/>
                  <a:pt x="3538974" y="2055055"/>
                </a:cubicBezTo>
                <a:cubicBezTo>
                  <a:pt x="4451544" y="1135063"/>
                  <a:pt x="5526455" y="352832"/>
                  <a:pt x="6391977" y="0"/>
                </a:cubicBezTo>
                <a:close/>
              </a:path>
            </a:pathLst>
          </a:custGeom>
        </p:spPr>
        <p:txBody>
          <a:bodyPr anchor="ctr" anchorCtr="1">
            <a:noAutofit/>
          </a:bodyPr>
          <a:lstStyle>
            <a:lvl1pPr>
              <a:defRPr sz="3000" b="1" i="0">
                <a:solidFill>
                  <a:schemeClr val="accent1"/>
                </a:solidFill>
                <a:latin typeface="Avenir Black" panose="02000503020000020003" pitchFamily="2" charset="0"/>
              </a:defRPr>
            </a:lvl1pPr>
          </a:lstStyle>
          <a:p>
            <a:r>
              <a:rPr lang="en-US" dirty="0"/>
              <a:t>Picture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983C2CF5-4D71-6C5C-27AE-C6D97A9C22CC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-41587" y="-31863"/>
            <a:ext cx="6128537" cy="5710780"/>
          </a:xfrm>
          <a:custGeom>
            <a:avLst/>
            <a:gdLst>
              <a:gd name="connsiteX0" fmla="*/ 0 w 2819400"/>
              <a:gd name="connsiteY0" fmla="*/ 0 h 276999"/>
              <a:gd name="connsiteX1" fmla="*/ 2819400 w 2819400"/>
              <a:gd name="connsiteY1" fmla="*/ 0 h 276999"/>
              <a:gd name="connsiteX2" fmla="*/ 2819400 w 2819400"/>
              <a:gd name="connsiteY2" fmla="*/ 276999 h 276999"/>
              <a:gd name="connsiteX3" fmla="*/ 0 w 2819400"/>
              <a:gd name="connsiteY3" fmla="*/ 276999 h 276999"/>
              <a:gd name="connsiteX4" fmla="*/ 0 w 2819400"/>
              <a:gd name="connsiteY4" fmla="*/ 0 h 276999"/>
              <a:gd name="connsiteX0" fmla="*/ 0 w 2819400"/>
              <a:gd name="connsiteY0" fmla="*/ 0 h 4585763"/>
              <a:gd name="connsiteX1" fmla="*/ 2819400 w 2819400"/>
              <a:gd name="connsiteY1" fmla="*/ 0 h 4585763"/>
              <a:gd name="connsiteX2" fmla="*/ 2029691 w 2819400"/>
              <a:gd name="connsiteY2" fmla="*/ 4585763 h 4585763"/>
              <a:gd name="connsiteX3" fmla="*/ 0 w 2819400"/>
              <a:gd name="connsiteY3" fmla="*/ 276999 h 4585763"/>
              <a:gd name="connsiteX4" fmla="*/ 0 w 2819400"/>
              <a:gd name="connsiteY4" fmla="*/ 0 h 4585763"/>
              <a:gd name="connsiteX0" fmla="*/ 0 w 5645728"/>
              <a:gd name="connsiteY0" fmla="*/ 1011382 h 5597145"/>
              <a:gd name="connsiteX1" fmla="*/ 5645728 w 5645728"/>
              <a:gd name="connsiteY1" fmla="*/ 0 h 5597145"/>
              <a:gd name="connsiteX2" fmla="*/ 2029691 w 5645728"/>
              <a:gd name="connsiteY2" fmla="*/ 5597145 h 5597145"/>
              <a:gd name="connsiteX3" fmla="*/ 0 w 5645728"/>
              <a:gd name="connsiteY3" fmla="*/ 1288381 h 5597145"/>
              <a:gd name="connsiteX4" fmla="*/ 0 w 5645728"/>
              <a:gd name="connsiteY4" fmla="*/ 1011382 h 5597145"/>
              <a:gd name="connsiteX0" fmla="*/ 0 w 6296892"/>
              <a:gd name="connsiteY0" fmla="*/ 83128 h 5597145"/>
              <a:gd name="connsiteX1" fmla="*/ 6296892 w 6296892"/>
              <a:gd name="connsiteY1" fmla="*/ 0 h 5597145"/>
              <a:gd name="connsiteX2" fmla="*/ 2680855 w 6296892"/>
              <a:gd name="connsiteY2" fmla="*/ 5597145 h 5597145"/>
              <a:gd name="connsiteX3" fmla="*/ 651164 w 6296892"/>
              <a:gd name="connsiteY3" fmla="*/ 1288381 h 5597145"/>
              <a:gd name="connsiteX4" fmla="*/ 0 w 6296892"/>
              <a:gd name="connsiteY4" fmla="*/ 83128 h 5597145"/>
              <a:gd name="connsiteX0" fmla="*/ 41564 w 6338456"/>
              <a:gd name="connsiteY0" fmla="*/ 83128 h 5666418"/>
              <a:gd name="connsiteX1" fmla="*/ 6338456 w 6338456"/>
              <a:gd name="connsiteY1" fmla="*/ 0 h 5666418"/>
              <a:gd name="connsiteX2" fmla="*/ 2722419 w 6338456"/>
              <a:gd name="connsiteY2" fmla="*/ 5597145 h 5666418"/>
              <a:gd name="connsiteX3" fmla="*/ 0 w 6338456"/>
              <a:gd name="connsiteY3" fmla="*/ 5666418 h 5666418"/>
              <a:gd name="connsiteX4" fmla="*/ 41564 w 6338456"/>
              <a:gd name="connsiteY4" fmla="*/ 83128 h 5666418"/>
              <a:gd name="connsiteX0" fmla="*/ 41564 w 6252628"/>
              <a:gd name="connsiteY0" fmla="*/ 0 h 5583290"/>
              <a:gd name="connsiteX1" fmla="*/ 6252628 w 6252628"/>
              <a:gd name="connsiteY1" fmla="*/ 42313 h 5583290"/>
              <a:gd name="connsiteX2" fmla="*/ 2722419 w 6252628"/>
              <a:gd name="connsiteY2" fmla="*/ 5514017 h 5583290"/>
              <a:gd name="connsiteX3" fmla="*/ 0 w 6252628"/>
              <a:gd name="connsiteY3" fmla="*/ 5583290 h 5583290"/>
              <a:gd name="connsiteX4" fmla="*/ 41564 w 6252628"/>
              <a:gd name="connsiteY4" fmla="*/ 0 h 5583290"/>
              <a:gd name="connsiteX0" fmla="*/ 124091 w 6252628"/>
              <a:gd name="connsiteY0" fmla="*/ 3902 h 5540977"/>
              <a:gd name="connsiteX1" fmla="*/ 6252628 w 6252628"/>
              <a:gd name="connsiteY1" fmla="*/ 0 h 5540977"/>
              <a:gd name="connsiteX2" fmla="*/ 2722419 w 6252628"/>
              <a:gd name="connsiteY2" fmla="*/ 5471704 h 5540977"/>
              <a:gd name="connsiteX3" fmla="*/ 0 w 6252628"/>
              <a:gd name="connsiteY3" fmla="*/ 5540977 h 5540977"/>
              <a:gd name="connsiteX4" fmla="*/ 124091 w 6252628"/>
              <a:gd name="connsiteY4" fmla="*/ 3902 h 5540977"/>
              <a:gd name="connsiteX0" fmla="*/ 124091 w 6252628"/>
              <a:gd name="connsiteY0" fmla="*/ 3902 h 5540977"/>
              <a:gd name="connsiteX1" fmla="*/ 6252628 w 6252628"/>
              <a:gd name="connsiteY1" fmla="*/ 0 h 5540977"/>
              <a:gd name="connsiteX2" fmla="*/ 2705913 w 6252628"/>
              <a:gd name="connsiteY2" fmla="*/ 5465102 h 5540977"/>
              <a:gd name="connsiteX3" fmla="*/ 0 w 6252628"/>
              <a:gd name="connsiteY3" fmla="*/ 5540977 h 5540977"/>
              <a:gd name="connsiteX4" fmla="*/ 124091 w 6252628"/>
              <a:gd name="connsiteY4" fmla="*/ 3902 h 5540977"/>
              <a:gd name="connsiteX0" fmla="*/ 0 w 6128537"/>
              <a:gd name="connsiteY0" fmla="*/ 3902 h 5537676"/>
              <a:gd name="connsiteX1" fmla="*/ 6128537 w 6128537"/>
              <a:gd name="connsiteY1" fmla="*/ 0 h 5537676"/>
              <a:gd name="connsiteX2" fmla="*/ 2581822 w 6128537"/>
              <a:gd name="connsiteY2" fmla="*/ 5465102 h 5537676"/>
              <a:gd name="connsiteX3" fmla="*/ 14554 w 6128537"/>
              <a:gd name="connsiteY3" fmla="*/ 5537676 h 5537676"/>
              <a:gd name="connsiteX4" fmla="*/ 0 w 6128537"/>
              <a:gd name="connsiteY4" fmla="*/ 3902 h 5537676"/>
              <a:gd name="connsiteX0" fmla="*/ 0 w 6128537"/>
              <a:gd name="connsiteY0" fmla="*/ 3902 h 5700831"/>
              <a:gd name="connsiteX1" fmla="*/ 6128537 w 6128537"/>
              <a:gd name="connsiteY1" fmla="*/ 0 h 5700831"/>
              <a:gd name="connsiteX2" fmla="*/ 2581822 w 6128537"/>
              <a:gd name="connsiteY2" fmla="*/ 5465102 h 5700831"/>
              <a:gd name="connsiteX3" fmla="*/ 14554 w 6128537"/>
              <a:gd name="connsiteY3" fmla="*/ 5537676 h 5700831"/>
              <a:gd name="connsiteX4" fmla="*/ 0 w 6128537"/>
              <a:gd name="connsiteY4" fmla="*/ 3902 h 5700831"/>
              <a:gd name="connsiteX0" fmla="*/ 0 w 6128537"/>
              <a:gd name="connsiteY0" fmla="*/ 3902 h 5721960"/>
              <a:gd name="connsiteX1" fmla="*/ 6128537 w 6128537"/>
              <a:gd name="connsiteY1" fmla="*/ 0 h 5721960"/>
              <a:gd name="connsiteX2" fmla="*/ 2581822 w 6128537"/>
              <a:gd name="connsiteY2" fmla="*/ 5465102 h 5721960"/>
              <a:gd name="connsiteX3" fmla="*/ 14554 w 6128537"/>
              <a:gd name="connsiteY3" fmla="*/ 5537676 h 5721960"/>
              <a:gd name="connsiteX4" fmla="*/ 0 w 6128537"/>
              <a:gd name="connsiteY4" fmla="*/ 3902 h 5721960"/>
              <a:gd name="connsiteX0" fmla="*/ 0 w 6128537"/>
              <a:gd name="connsiteY0" fmla="*/ 3902 h 5725495"/>
              <a:gd name="connsiteX1" fmla="*/ 6128537 w 6128537"/>
              <a:gd name="connsiteY1" fmla="*/ 0 h 5725495"/>
              <a:gd name="connsiteX2" fmla="*/ 2569122 w 6128537"/>
              <a:gd name="connsiteY2" fmla="*/ 5477802 h 5725495"/>
              <a:gd name="connsiteX3" fmla="*/ 14554 w 6128537"/>
              <a:gd name="connsiteY3" fmla="*/ 5537676 h 5725495"/>
              <a:gd name="connsiteX4" fmla="*/ 0 w 6128537"/>
              <a:gd name="connsiteY4" fmla="*/ 3902 h 5725495"/>
              <a:gd name="connsiteX0" fmla="*/ 0 w 6128537"/>
              <a:gd name="connsiteY0" fmla="*/ 3902 h 5729358"/>
              <a:gd name="connsiteX1" fmla="*/ 6128537 w 6128537"/>
              <a:gd name="connsiteY1" fmla="*/ 0 h 5729358"/>
              <a:gd name="connsiteX2" fmla="*/ 2569122 w 6128537"/>
              <a:gd name="connsiteY2" fmla="*/ 5477802 h 5729358"/>
              <a:gd name="connsiteX3" fmla="*/ 14554 w 6128537"/>
              <a:gd name="connsiteY3" fmla="*/ 5537676 h 5729358"/>
              <a:gd name="connsiteX4" fmla="*/ 0 w 6128537"/>
              <a:gd name="connsiteY4" fmla="*/ 3902 h 5729358"/>
              <a:gd name="connsiteX0" fmla="*/ 0 w 6128537"/>
              <a:gd name="connsiteY0" fmla="*/ 3902 h 5727115"/>
              <a:gd name="connsiteX1" fmla="*/ 6128537 w 6128537"/>
              <a:gd name="connsiteY1" fmla="*/ 0 h 5727115"/>
              <a:gd name="connsiteX2" fmla="*/ 2569122 w 6128537"/>
              <a:gd name="connsiteY2" fmla="*/ 5477802 h 5727115"/>
              <a:gd name="connsiteX3" fmla="*/ 20904 w 6128537"/>
              <a:gd name="connsiteY3" fmla="*/ 5534501 h 5727115"/>
              <a:gd name="connsiteX4" fmla="*/ 0 w 6128537"/>
              <a:gd name="connsiteY4" fmla="*/ 3902 h 5727115"/>
              <a:gd name="connsiteX0" fmla="*/ 0 w 6128537"/>
              <a:gd name="connsiteY0" fmla="*/ 3902 h 5706057"/>
              <a:gd name="connsiteX1" fmla="*/ 6128537 w 6128537"/>
              <a:gd name="connsiteY1" fmla="*/ 0 h 5706057"/>
              <a:gd name="connsiteX2" fmla="*/ 2569122 w 6128537"/>
              <a:gd name="connsiteY2" fmla="*/ 5477802 h 5706057"/>
              <a:gd name="connsiteX3" fmla="*/ 20904 w 6128537"/>
              <a:gd name="connsiteY3" fmla="*/ 5534501 h 5706057"/>
              <a:gd name="connsiteX4" fmla="*/ 0 w 6128537"/>
              <a:gd name="connsiteY4" fmla="*/ 3902 h 5706057"/>
              <a:gd name="connsiteX0" fmla="*/ 0 w 6128537"/>
              <a:gd name="connsiteY0" fmla="*/ 3902 h 5711774"/>
              <a:gd name="connsiteX1" fmla="*/ 6128537 w 6128537"/>
              <a:gd name="connsiteY1" fmla="*/ 0 h 5711774"/>
              <a:gd name="connsiteX2" fmla="*/ 2569122 w 6128537"/>
              <a:gd name="connsiteY2" fmla="*/ 5477802 h 5711774"/>
              <a:gd name="connsiteX3" fmla="*/ 20904 w 6128537"/>
              <a:gd name="connsiteY3" fmla="*/ 5534501 h 5711774"/>
              <a:gd name="connsiteX4" fmla="*/ 0 w 6128537"/>
              <a:gd name="connsiteY4" fmla="*/ 3902 h 5711774"/>
              <a:gd name="connsiteX0" fmla="*/ 0 w 6128537"/>
              <a:gd name="connsiteY0" fmla="*/ 3902 h 5710780"/>
              <a:gd name="connsiteX1" fmla="*/ 6128537 w 6128537"/>
              <a:gd name="connsiteY1" fmla="*/ 0 h 5710780"/>
              <a:gd name="connsiteX2" fmla="*/ 2562772 w 6128537"/>
              <a:gd name="connsiteY2" fmla="*/ 5474627 h 5710780"/>
              <a:gd name="connsiteX3" fmla="*/ 20904 w 6128537"/>
              <a:gd name="connsiteY3" fmla="*/ 5534501 h 5710780"/>
              <a:gd name="connsiteX4" fmla="*/ 0 w 6128537"/>
              <a:gd name="connsiteY4" fmla="*/ 3902 h 57107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28537" h="5710780">
                <a:moveTo>
                  <a:pt x="0" y="3902"/>
                </a:moveTo>
                <a:lnTo>
                  <a:pt x="6128537" y="0"/>
                </a:lnTo>
                <a:lnTo>
                  <a:pt x="2562772" y="5474627"/>
                </a:lnTo>
                <a:cubicBezTo>
                  <a:pt x="2081173" y="5635951"/>
                  <a:pt x="1177093" y="5881923"/>
                  <a:pt x="20904" y="5534501"/>
                </a:cubicBezTo>
                <a:cubicBezTo>
                  <a:pt x="16053" y="3689910"/>
                  <a:pt x="4851" y="1848493"/>
                  <a:pt x="0" y="3902"/>
                </a:cubicBezTo>
                <a:close/>
              </a:path>
            </a:pathLst>
          </a:custGeom>
        </p:spPr>
        <p:txBody>
          <a:bodyPr anchor="ctr" anchorCtr="1">
            <a:noAutofit/>
          </a:bodyPr>
          <a:lstStyle>
            <a:lvl1pPr>
              <a:defRPr sz="3000" b="1" i="0">
                <a:solidFill>
                  <a:schemeClr val="accent1"/>
                </a:solidFill>
                <a:latin typeface="Avenir Black" panose="02000503020000020003" pitchFamily="2" charset="0"/>
              </a:defRPr>
            </a:lvl1pPr>
          </a:lstStyle>
          <a:p>
            <a:r>
              <a:rPr lang="en-US" dirty="0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148215004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3">
            <a:extLst>
              <a:ext uri="{FF2B5EF4-FFF2-40B4-BE49-F238E27FC236}">
                <a16:creationId xmlns:a16="http://schemas.microsoft.com/office/drawing/2014/main" id="{734A52E5-CC75-C7E1-297F-379B079F974F}"/>
              </a:ext>
            </a:extLst>
          </p:cNvPr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20104099" cy="11308556"/>
          </a:xfrm>
          <a:prstGeom prst="rect">
            <a:avLst/>
          </a:prstGeom>
        </p:spPr>
      </p:pic>
      <p:pic>
        <p:nvPicPr>
          <p:cNvPr id="3" name="object 3">
            <a:extLst>
              <a:ext uri="{FF2B5EF4-FFF2-40B4-BE49-F238E27FC236}">
                <a16:creationId xmlns:a16="http://schemas.microsoft.com/office/drawing/2014/main" id="{EDF20BC2-4ADB-814A-E38A-EBD48ECE5D38}"/>
              </a:ext>
            </a:extLst>
          </p:cNvPr>
          <p:cNvPicPr/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20104099" cy="113085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676013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Breaker option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object 3">
            <a:extLst>
              <a:ext uri="{FF2B5EF4-FFF2-40B4-BE49-F238E27FC236}">
                <a16:creationId xmlns:a16="http://schemas.microsoft.com/office/drawing/2014/main" id="{D6B6DA78-06D4-5C2F-3940-0380BA62B4DE}"/>
              </a:ext>
            </a:extLst>
          </p:cNvPr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20104099" cy="11308556"/>
          </a:xfrm>
          <a:prstGeom prst="rect">
            <a:avLst/>
          </a:prstGeom>
        </p:spPr>
      </p:pic>
      <p:sp>
        <p:nvSpPr>
          <p:cNvPr id="3" name="Picture Placeholder 4">
            <a:extLst>
              <a:ext uri="{FF2B5EF4-FFF2-40B4-BE49-F238E27FC236}">
                <a16:creationId xmlns:a16="http://schemas.microsoft.com/office/drawing/2014/main" id="{972DEE13-2659-4DBA-12C2-7B091DE80F3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441201" y="4054475"/>
            <a:ext cx="13059399" cy="7271386"/>
          </a:xfrm>
          <a:custGeom>
            <a:avLst/>
            <a:gdLst>
              <a:gd name="connsiteX0" fmla="*/ 0 w 7086600"/>
              <a:gd name="connsiteY0" fmla="*/ 0 h 276999"/>
              <a:gd name="connsiteX1" fmla="*/ 7086600 w 7086600"/>
              <a:gd name="connsiteY1" fmla="*/ 0 h 276999"/>
              <a:gd name="connsiteX2" fmla="*/ 7086600 w 7086600"/>
              <a:gd name="connsiteY2" fmla="*/ 276999 h 276999"/>
              <a:gd name="connsiteX3" fmla="*/ 0 w 7086600"/>
              <a:gd name="connsiteY3" fmla="*/ 276999 h 276999"/>
              <a:gd name="connsiteX4" fmla="*/ 0 w 7086600"/>
              <a:gd name="connsiteY4" fmla="*/ 0 h 276999"/>
              <a:gd name="connsiteX0" fmla="*/ 5625548 w 7086600"/>
              <a:gd name="connsiteY0" fmla="*/ 0 h 4242712"/>
              <a:gd name="connsiteX1" fmla="*/ 7086600 w 7086600"/>
              <a:gd name="connsiteY1" fmla="*/ 3965713 h 4242712"/>
              <a:gd name="connsiteX2" fmla="*/ 7086600 w 7086600"/>
              <a:gd name="connsiteY2" fmla="*/ 4242712 h 4242712"/>
              <a:gd name="connsiteX3" fmla="*/ 0 w 7086600"/>
              <a:gd name="connsiteY3" fmla="*/ 4242712 h 4242712"/>
              <a:gd name="connsiteX4" fmla="*/ 5625548 w 7086600"/>
              <a:gd name="connsiteY4" fmla="*/ 0 h 4242712"/>
              <a:gd name="connsiteX0" fmla="*/ 10873409 w 12334461"/>
              <a:gd name="connsiteY0" fmla="*/ 0 h 8963799"/>
              <a:gd name="connsiteX1" fmla="*/ 12334461 w 12334461"/>
              <a:gd name="connsiteY1" fmla="*/ 3965713 h 8963799"/>
              <a:gd name="connsiteX2" fmla="*/ 12334461 w 12334461"/>
              <a:gd name="connsiteY2" fmla="*/ 4242712 h 8963799"/>
              <a:gd name="connsiteX3" fmla="*/ 0 w 12334461"/>
              <a:gd name="connsiteY3" fmla="*/ 8963799 h 8963799"/>
              <a:gd name="connsiteX4" fmla="*/ 10873409 w 12334461"/>
              <a:gd name="connsiteY4" fmla="*/ 0 h 8963799"/>
              <a:gd name="connsiteX0" fmla="*/ 10873409 w 14660218"/>
              <a:gd name="connsiteY0" fmla="*/ 0 h 8963799"/>
              <a:gd name="connsiteX1" fmla="*/ 12334461 w 14660218"/>
              <a:gd name="connsiteY1" fmla="*/ 3965713 h 8963799"/>
              <a:gd name="connsiteX2" fmla="*/ 14660218 w 14660218"/>
              <a:gd name="connsiteY2" fmla="*/ 7592199 h 8963799"/>
              <a:gd name="connsiteX3" fmla="*/ 0 w 14660218"/>
              <a:gd name="connsiteY3" fmla="*/ 8963799 h 8963799"/>
              <a:gd name="connsiteX4" fmla="*/ 10873409 w 14660218"/>
              <a:gd name="connsiteY4" fmla="*/ 0 h 8963799"/>
              <a:gd name="connsiteX0" fmla="*/ 10873409 w 14948452"/>
              <a:gd name="connsiteY0" fmla="*/ 0 h 8963799"/>
              <a:gd name="connsiteX1" fmla="*/ 14948452 w 14948452"/>
              <a:gd name="connsiteY1" fmla="*/ 6231835 h 8963799"/>
              <a:gd name="connsiteX2" fmla="*/ 14660218 w 14948452"/>
              <a:gd name="connsiteY2" fmla="*/ 7592199 h 8963799"/>
              <a:gd name="connsiteX3" fmla="*/ 0 w 14948452"/>
              <a:gd name="connsiteY3" fmla="*/ 8963799 h 8963799"/>
              <a:gd name="connsiteX4" fmla="*/ 10873409 w 14948452"/>
              <a:gd name="connsiteY4" fmla="*/ 0 h 8963799"/>
              <a:gd name="connsiteX0" fmla="*/ 10873409 w 16210723"/>
              <a:gd name="connsiteY0" fmla="*/ 0 h 8963799"/>
              <a:gd name="connsiteX1" fmla="*/ 14948452 w 16210723"/>
              <a:gd name="connsiteY1" fmla="*/ 6231835 h 8963799"/>
              <a:gd name="connsiteX2" fmla="*/ 16210723 w 16210723"/>
              <a:gd name="connsiteY2" fmla="*/ 8963799 h 8963799"/>
              <a:gd name="connsiteX3" fmla="*/ 0 w 16210723"/>
              <a:gd name="connsiteY3" fmla="*/ 8963799 h 8963799"/>
              <a:gd name="connsiteX4" fmla="*/ 10873409 w 16210723"/>
              <a:gd name="connsiteY4" fmla="*/ 0 h 8963799"/>
              <a:gd name="connsiteX0" fmla="*/ 10873409 w 16210723"/>
              <a:gd name="connsiteY0" fmla="*/ 0 h 8963799"/>
              <a:gd name="connsiteX1" fmla="*/ 14910352 w 16210723"/>
              <a:gd name="connsiteY1" fmla="*/ 6225485 h 8963799"/>
              <a:gd name="connsiteX2" fmla="*/ 16210723 w 16210723"/>
              <a:gd name="connsiteY2" fmla="*/ 8963799 h 8963799"/>
              <a:gd name="connsiteX3" fmla="*/ 0 w 16210723"/>
              <a:gd name="connsiteY3" fmla="*/ 8963799 h 8963799"/>
              <a:gd name="connsiteX4" fmla="*/ 10873409 w 16210723"/>
              <a:gd name="connsiteY4" fmla="*/ 0 h 8963799"/>
              <a:gd name="connsiteX0" fmla="*/ 10873409 w 16210723"/>
              <a:gd name="connsiteY0" fmla="*/ 0 h 8963799"/>
              <a:gd name="connsiteX1" fmla="*/ 14910352 w 16210723"/>
              <a:gd name="connsiteY1" fmla="*/ 6225485 h 8963799"/>
              <a:gd name="connsiteX2" fmla="*/ 14988761 w 16210723"/>
              <a:gd name="connsiteY2" fmla="*/ 6388238 h 8963799"/>
              <a:gd name="connsiteX3" fmla="*/ 16210723 w 16210723"/>
              <a:gd name="connsiteY3" fmla="*/ 8963799 h 8963799"/>
              <a:gd name="connsiteX4" fmla="*/ 0 w 16210723"/>
              <a:gd name="connsiteY4" fmla="*/ 8963799 h 8963799"/>
              <a:gd name="connsiteX5" fmla="*/ 10873409 w 16210723"/>
              <a:gd name="connsiteY5" fmla="*/ 0 h 8963799"/>
              <a:gd name="connsiteX0" fmla="*/ 10873409 w 16210723"/>
              <a:gd name="connsiteY0" fmla="*/ 0 h 8963799"/>
              <a:gd name="connsiteX1" fmla="*/ 14910352 w 16210723"/>
              <a:gd name="connsiteY1" fmla="*/ 6225485 h 8963799"/>
              <a:gd name="connsiteX2" fmla="*/ 14658561 w 16210723"/>
              <a:gd name="connsiteY2" fmla="*/ 7534413 h 8963799"/>
              <a:gd name="connsiteX3" fmla="*/ 16210723 w 16210723"/>
              <a:gd name="connsiteY3" fmla="*/ 8963799 h 8963799"/>
              <a:gd name="connsiteX4" fmla="*/ 0 w 16210723"/>
              <a:gd name="connsiteY4" fmla="*/ 8963799 h 8963799"/>
              <a:gd name="connsiteX5" fmla="*/ 10873409 w 16210723"/>
              <a:gd name="connsiteY5" fmla="*/ 0 h 8963799"/>
              <a:gd name="connsiteX0" fmla="*/ 10873409 w 16210723"/>
              <a:gd name="connsiteY0" fmla="*/ 0 h 8963799"/>
              <a:gd name="connsiteX1" fmla="*/ 14910352 w 16210723"/>
              <a:gd name="connsiteY1" fmla="*/ 6225485 h 8963799"/>
              <a:gd name="connsiteX2" fmla="*/ 14658561 w 16210723"/>
              <a:gd name="connsiteY2" fmla="*/ 7534413 h 8963799"/>
              <a:gd name="connsiteX3" fmla="*/ 14763336 w 16210723"/>
              <a:gd name="connsiteY3" fmla="*/ 7629663 h 8963799"/>
              <a:gd name="connsiteX4" fmla="*/ 16210723 w 16210723"/>
              <a:gd name="connsiteY4" fmla="*/ 8963799 h 8963799"/>
              <a:gd name="connsiteX5" fmla="*/ 0 w 16210723"/>
              <a:gd name="connsiteY5" fmla="*/ 8963799 h 8963799"/>
              <a:gd name="connsiteX6" fmla="*/ 10873409 w 16210723"/>
              <a:gd name="connsiteY6" fmla="*/ 0 h 8963799"/>
              <a:gd name="connsiteX0" fmla="*/ 10873409 w 16210723"/>
              <a:gd name="connsiteY0" fmla="*/ 0 h 8963799"/>
              <a:gd name="connsiteX1" fmla="*/ 14910352 w 16210723"/>
              <a:gd name="connsiteY1" fmla="*/ 6225485 h 8963799"/>
              <a:gd name="connsiteX2" fmla="*/ 14658561 w 16210723"/>
              <a:gd name="connsiteY2" fmla="*/ 7534413 h 8963799"/>
              <a:gd name="connsiteX3" fmla="*/ 14699836 w 16210723"/>
              <a:gd name="connsiteY3" fmla="*/ 7664588 h 8963799"/>
              <a:gd name="connsiteX4" fmla="*/ 16210723 w 16210723"/>
              <a:gd name="connsiteY4" fmla="*/ 8963799 h 8963799"/>
              <a:gd name="connsiteX5" fmla="*/ 0 w 16210723"/>
              <a:gd name="connsiteY5" fmla="*/ 8963799 h 8963799"/>
              <a:gd name="connsiteX6" fmla="*/ 10873409 w 16210723"/>
              <a:gd name="connsiteY6" fmla="*/ 0 h 8963799"/>
              <a:gd name="connsiteX0" fmla="*/ 10873409 w 16210723"/>
              <a:gd name="connsiteY0" fmla="*/ 0 h 8963799"/>
              <a:gd name="connsiteX1" fmla="*/ 14910352 w 16210723"/>
              <a:gd name="connsiteY1" fmla="*/ 6225485 h 8963799"/>
              <a:gd name="connsiteX2" fmla="*/ 14658561 w 16210723"/>
              <a:gd name="connsiteY2" fmla="*/ 7534413 h 8963799"/>
              <a:gd name="connsiteX3" fmla="*/ 14699836 w 16210723"/>
              <a:gd name="connsiteY3" fmla="*/ 7664588 h 8963799"/>
              <a:gd name="connsiteX4" fmla="*/ 16210723 w 16210723"/>
              <a:gd name="connsiteY4" fmla="*/ 8963799 h 8963799"/>
              <a:gd name="connsiteX5" fmla="*/ 0 w 16210723"/>
              <a:gd name="connsiteY5" fmla="*/ 8963799 h 8963799"/>
              <a:gd name="connsiteX6" fmla="*/ 10873409 w 16210723"/>
              <a:gd name="connsiteY6" fmla="*/ 0 h 8963799"/>
              <a:gd name="connsiteX0" fmla="*/ 10873409 w 16150398"/>
              <a:gd name="connsiteY0" fmla="*/ 0 h 8963799"/>
              <a:gd name="connsiteX1" fmla="*/ 14910352 w 16150398"/>
              <a:gd name="connsiteY1" fmla="*/ 6225485 h 8963799"/>
              <a:gd name="connsiteX2" fmla="*/ 14658561 w 16150398"/>
              <a:gd name="connsiteY2" fmla="*/ 7534413 h 8963799"/>
              <a:gd name="connsiteX3" fmla="*/ 14699836 w 16150398"/>
              <a:gd name="connsiteY3" fmla="*/ 7664588 h 8963799"/>
              <a:gd name="connsiteX4" fmla="*/ 16150398 w 16150398"/>
              <a:gd name="connsiteY4" fmla="*/ 8951099 h 8963799"/>
              <a:gd name="connsiteX5" fmla="*/ 0 w 16150398"/>
              <a:gd name="connsiteY5" fmla="*/ 8963799 h 8963799"/>
              <a:gd name="connsiteX6" fmla="*/ 10873409 w 16150398"/>
              <a:gd name="connsiteY6" fmla="*/ 0 h 8963799"/>
              <a:gd name="connsiteX0" fmla="*/ 10873409 w 16150398"/>
              <a:gd name="connsiteY0" fmla="*/ 0 h 8963799"/>
              <a:gd name="connsiteX1" fmla="*/ 14910352 w 16150398"/>
              <a:gd name="connsiteY1" fmla="*/ 6225485 h 8963799"/>
              <a:gd name="connsiteX2" fmla="*/ 14658561 w 16150398"/>
              <a:gd name="connsiteY2" fmla="*/ 7534413 h 8963799"/>
              <a:gd name="connsiteX3" fmla="*/ 14699836 w 16150398"/>
              <a:gd name="connsiteY3" fmla="*/ 7664588 h 8963799"/>
              <a:gd name="connsiteX4" fmla="*/ 16150398 w 16150398"/>
              <a:gd name="connsiteY4" fmla="*/ 8951099 h 8963799"/>
              <a:gd name="connsiteX5" fmla="*/ 0 w 16150398"/>
              <a:gd name="connsiteY5" fmla="*/ 8963799 h 8963799"/>
              <a:gd name="connsiteX6" fmla="*/ 10873409 w 16150398"/>
              <a:gd name="connsiteY6" fmla="*/ 0 h 8963799"/>
              <a:gd name="connsiteX0" fmla="*/ 10873409 w 16150398"/>
              <a:gd name="connsiteY0" fmla="*/ 0 h 8963799"/>
              <a:gd name="connsiteX1" fmla="*/ 14910352 w 16150398"/>
              <a:gd name="connsiteY1" fmla="*/ 6225485 h 8963799"/>
              <a:gd name="connsiteX2" fmla="*/ 14658561 w 16150398"/>
              <a:gd name="connsiteY2" fmla="*/ 7534413 h 8963799"/>
              <a:gd name="connsiteX3" fmla="*/ 14699836 w 16150398"/>
              <a:gd name="connsiteY3" fmla="*/ 7664588 h 8963799"/>
              <a:gd name="connsiteX4" fmla="*/ 16150398 w 16150398"/>
              <a:gd name="connsiteY4" fmla="*/ 8951099 h 8963799"/>
              <a:gd name="connsiteX5" fmla="*/ 0 w 16150398"/>
              <a:gd name="connsiteY5" fmla="*/ 8963799 h 8963799"/>
              <a:gd name="connsiteX6" fmla="*/ 10873409 w 16150398"/>
              <a:gd name="connsiteY6" fmla="*/ 0 h 8963799"/>
              <a:gd name="connsiteX0" fmla="*/ 10873409 w 16150398"/>
              <a:gd name="connsiteY0" fmla="*/ 0 h 8963799"/>
              <a:gd name="connsiteX1" fmla="*/ 14910352 w 16150398"/>
              <a:gd name="connsiteY1" fmla="*/ 6225485 h 8963799"/>
              <a:gd name="connsiteX2" fmla="*/ 14658561 w 16150398"/>
              <a:gd name="connsiteY2" fmla="*/ 7534413 h 8963799"/>
              <a:gd name="connsiteX3" fmla="*/ 14750636 w 16150398"/>
              <a:gd name="connsiteY3" fmla="*/ 7709038 h 8963799"/>
              <a:gd name="connsiteX4" fmla="*/ 16150398 w 16150398"/>
              <a:gd name="connsiteY4" fmla="*/ 8951099 h 8963799"/>
              <a:gd name="connsiteX5" fmla="*/ 0 w 16150398"/>
              <a:gd name="connsiteY5" fmla="*/ 8963799 h 8963799"/>
              <a:gd name="connsiteX6" fmla="*/ 10873409 w 16150398"/>
              <a:gd name="connsiteY6" fmla="*/ 0 h 8963799"/>
              <a:gd name="connsiteX0" fmla="*/ 10873409 w 16150398"/>
              <a:gd name="connsiteY0" fmla="*/ 0 h 8963799"/>
              <a:gd name="connsiteX1" fmla="*/ 14910352 w 16150398"/>
              <a:gd name="connsiteY1" fmla="*/ 6225485 h 8963799"/>
              <a:gd name="connsiteX2" fmla="*/ 14658561 w 16150398"/>
              <a:gd name="connsiteY2" fmla="*/ 7534413 h 8963799"/>
              <a:gd name="connsiteX3" fmla="*/ 14750636 w 16150398"/>
              <a:gd name="connsiteY3" fmla="*/ 7709038 h 8963799"/>
              <a:gd name="connsiteX4" fmla="*/ 16150398 w 16150398"/>
              <a:gd name="connsiteY4" fmla="*/ 8951099 h 8963799"/>
              <a:gd name="connsiteX5" fmla="*/ 0 w 16150398"/>
              <a:gd name="connsiteY5" fmla="*/ 8963799 h 8963799"/>
              <a:gd name="connsiteX6" fmla="*/ 10873409 w 16150398"/>
              <a:gd name="connsiteY6" fmla="*/ 0 h 8963799"/>
              <a:gd name="connsiteX0" fmla="*/ 10873409 w 16150398"/>
              <a:gd name="connsiteY0" fmla="*/ 0 h 8963799"/>
              <a:gd name="connsiteX1" fmla="*/ 14910352 w 16150398"/>
              <a:gd name="connsiteY1" fmla="*/ 6225485 h 8963799"/>
              <a:gd name="connsiteX2" fmla="*/ 14680786 w 16150398"/>
              <a:gd name="connsiteY2" fmla="*/ 7426463 h 8963799"/>
              <a:gd name="connsiteX3" fmla="*/ 14750636 w 16150398"/>
              <a:gd name="connsiteY3" fmla="*/ 7709038 h 8963799"/>
              <a:gd name="connsiteX4" fmla="*/ 16150398 w 16150398"/>
              <a:gd name="connsiteY4" fmla="*/ 8951099 h 8963799"/>
              <a:gd name="connsiteX5" fmla="*/ 0 w 16150398"/>
              <a:gd name="connsiteY5" fmla="*/ 8963799 h 8963799"/>
              <a:gd name="connsiteX6" fmla="*/ 10873409 w 16150398"/>
              <a:gd name="connsiteY6" fmla="*/ 0 h 8963799"/>
              <a:gd name="connsiteX0" fmla="*/ 10873409 w 16150398"/>
              <a:gd name="connsiteY0" fmla="*/ 0 h 8963799"/>
              <a:gd name="connsiteX1" fmla="*/ 14910352 w 16150398"/>
              <a:gd name="connsiteY1" fmla="*/ 6225485 h 8963799"/>
              <a:gd name="connsiteX2" fmla="*/ 14680786 w 16150398"/>
              <a:gd name="connsiteY2" fmla="*/ 7426463 h 8963799"/>
              <a:gd name="connsiteX3" fmla="*/ 14750636 w 16150398"/>
              <a:gd name="connsiteY3" fmla="*/ 7709038 h 8963799"/>
              <a:gd name="connsiteX4" fmla="*/ 16150398 w 16150398"/>
              <a:gd name="connsiteY4" fmla="*/ 8951099 h 8963799"/>
              <a:gd name="connsiteX5" fmla="*/ 0 w 16150398"/>
              <a:gd name="connsiteY5" fmla="*/ 8963799 h 8963799"/>
              <a:gd name="connsiteX6" fmla="*/ 10873409 w 16150398"/>
              <a:gd name="connsiteY6" fmla="*/ 0 h 8963799"/>
              <a:gd name="connsiteX0" fmla="*/ 10873409 w 16150398"/>
              <a:gd name="connsiteY0" fmla="*/ 0 h 8963799"/>
              <a:gd name="connsiteX1" fmla="*/ 14904002 w 16150398"/>
              <a:gd name="connsiteY1" fmla="*/ 6235010 h 8963799"/>
              <a:gd name="connsiteX2" fmla="*/ 14680786 w 16150398"/>
              <a:gd name="connsiteY2" fmla="*/ 7426463 h 8963799"/>
              <a:gd name="connsiteX3" fmla="*/ 14750636 w 16150398"/>
              <a:gd name="connsiteY3" fmla="*/ 7709038 h 8963799"/>
              <a:gd name="connsiteX4" fmla="*/ 16150398 w 16150398"/>
              <a:gd name="connsiteY4" fmla="*/ 8951099 h 8963799"/>
              <a:gd name="connsiteX5" fmla="*/ 0 w 16150398"/>
              <a:gd name="connsiteY5" fmla="*/ 8963799 h 8963799"/>
              <a:gd name="connsiteX6" fmla="*/ 10873409 w 16150398"/>
              <a:gd name="connsiteY6" fmla="*/ 0 h 8963799"/>
              <a:gd name="connsiteX0" fmla="*/ 10873409 w 16150398"/>
              <a:gd name="connsiteY0" fmla="*/ 0 h 8963799"/>
              <a:gd name="connsiteX1" fmla="*/ 14957977 w 16150398"/>
              <a:gd name="connsiteY1" fmla="*/ 6212785 h 8963799"/>
              <a:gd name="connsiteX2" fmla="*/ 14680786 w 16150398"/>
              <a:gd name="connsiteY2" fmla="*/ 7426463 h 8963799"/>
              <a:gd name="connsiteX3" fmla="*/ 14750636 w 16150398"/>
              <a:gd name="connsiteY3" fmla="*/ 7709038 h 8963799"/>
              <a:gd name="connsiteX4" fmla="*/ 16150398 w 16150398"/>
              <a:gd name="connsiteY4" fmla="*/ 8951099 h 8963799"/>
              <a:gd name="connsiteX5" fmla="*/ 0 w 16150398"/>
              <a:gd name="connsiteY5" fmla="*/ 8963799 h 8963799"/>
              <a:gd name="connsiteX6" fmla="*/ 10873409 w 16150398"/>
              <a:gd name="connsiteY6" fmla="*/ 0 h 8963799"/>
              <a:gd name="connsiteX0" fmla="*/ 10873409 w 16150398"/>
              <a:gd name="connsiteY0" fmla="*/ 0 h 8963799"/>
              <a:gd name="connsiteX1" fmla="*/ 14910352 w 16150398"/>
              <a:gd name="connsiteY1" fmla="*/ 6222310 h 8963799"/>
              <a:gd name="connsiteX2" fmla="*/ 14680786 w 16150398"/>
              <a:gd name="connsiteY2" fmla="*/ 7426463 h 8963799"/>
              <a:gd name="connsiteX3" fmla="*/ 14750636 w 16150398"/>
              <a:gd name="connsiteY3" fmla="*/ 7709038 h 8963799"/>
              <a:gd name="connsiteX4" fmla="*/ 16150398 w 16150398"/>
              <a:gd name="connsiteY4" fmla="*/ 8951099 h 8963799"/>
              <a:gd name="connsiteX5" fmla="*/ 0 w 16150398"/>
              <a:gd name="connsiteY5" fmla="*/ 8963799 h 8963799"/>
              <a:gd name="connsiteX6" fmla="*/ 10873409 w 16150398"/>
              <a:gd name="connsiteY6" fmla="*/ 0 h 8963799"/>
              <a:gd name="connsiteX0" fmla="*/ 10863884 w 16150398"/>
              <a:gd name="connsiteY0" fmla="*/ 0 h 8938399"/>
              <a:gd name="connsiteX1" fmla="*/ 14910352 w 16150398"/>
              <a:gd name="connsiteY1" fmla="*/ 6196910 h 8938399"/>
              <a:gd name="connsiteX2" fmla="*/ 14680786 w 16150398"/>
              <a:gd name="connsiteY2" fmla="*/ 7401063 h 8938399"/>
              <a:gd name="connsiteX3" fmla="*/ 14750636 w 16150398"/>
              <a:gd name="connsiteY3" fmla="*/ 7683638 h 8938399"/>
              <a:gd name="connsiteX4" fmla="*/ 16150398 w 16150398"/>
              <a:gd name="connsiteY4" fmla="*/ 8925699 h 8938399"/>
              <a:gd name="connsiteX5" fmla="*/ 0 w 16150398"/>
              <a:gd name="connsiteY5" fmla="*/ 8938399 h 8938399"/>
              <a:gd name="connsiteX6" fmla="*/ 10863884 w 16150398"/>
              <a:gd name="connsiteY6" fmla="*/ 0 h 8938399"/>
              <a:gd name="connsiteX0" fmla="*/ 10892459 w 16178973"/>
              <a:gd name="connsiteY0" fmla="*/ 0 h 8925699"/>
              <a:gd name="connsiteX1" fmla="*/ 14938927 w 16178973"/>
              <a:gd name="connsiteY1" fmla="*/ 6196910 h 8925699"/>
              <a:gd name="connsiteX2" fmla="*/ 14709361 w 16178973"/>
              <a:gd name="connsiteY2" fmla="*/ 7401063 h 8925699"/>
              <a:gd name="connsiteX3" fmla="*/ 14779211 w 16178973"/>
              <a:gd name="connsiteY3" fmla="*/ 7683638 h 8925699"/>
              <a:gd name="connsiteX4" fmla="*/ 16178973 w 16178973"/>
              <a:gd name="connsiteY4" fmla="*/ 8925699 h 8925699"/>
              <a:gd name="connsiteX5" fmla="*/ 0 w 16178973"/>
              <a:gd name="connsiteY5" fmla="*/ 8919349 h 8925699"/>
              <a:gd name="connsiteX6" fmla="*/ 10892459 w 16178973"/>
              <a:gd name="connsiteY6" fmla="*/ 0 h 8925699"/>
              <a:gd name="connsiteX0" fmla="*/ 10892459 w 16178973"/>
              <a:gd name="connsiteY0" fmla="*/ 0 h 8925699"/>
              <a:gd name="connsiteX1" fmla="*/ 14938927 w 16178973"/>
              <a:gd name="connsiteY1" fmla="*/ 6196910 h 8925699"/>
              <a:gd name="connsiteX2" fmla="*/ 14709361 w 16178973"/>
              <a:gd name="connsiteY2" fmla="*/ 7401063 h 8925699"/>
              <a:gd name="connsiteX3" fmla="*/ 14779211 w 16178973"/>
              <a:gd name="connsiteY3" fmla="*/ 7683638 h 8925699"/>
              <a:gd name="connsiteX4" fmla="*/ 16178973 w 16178973"/>
              <a:gd name="connsiteY4" fmla="*/ 8925699 h 8925699"/>
              <a:gd name="connsiteX5" fmla="*/ 0 w 16178973"/>
              <a:gd name="connsiteY5" fmla="*/ 8919349 h 8925699"/>
              <a:gd name="connsiteX6" fmla="*/ 1545812 w 16178973"/>
              <a:gd name="connsiteY6" fmla="*/ 7648713 h 8925699"/>
              <a:gd name="connsiteX7" fmla="*/ 10892459 w 16178973"/>
              <a:gd name="connsiteY7" fmla="*/ 0 h 8925699"/>
              <a:gd name="connsiteX0" fmla="*/ 10892459 w 16178973"/>
              <a:gd name="connsiteY0" fmla="*/ 0 h 8925699"/>
              <a:gd name="connsiteX1" fmla="*/ 14938927 w 16178973"/>
              <a:gd name="connsiteY1" fmla="*/ 6196910 h 8925699"/>
              <a:gd name="connsiteX2" fmla="*/ 14709361 w 16178973"/>
              <a:gd name="connsiteY2" fmla="*/ 7401063 h 8925699"/>
              <a:gd name="connsiteX3" fmla="*/ 14779211 w 16178973"/>
              <a:gd name="connsiteY3" fmla="*/ 7683638 h 8925699"/>
              <a:gd name="connsiteX4" fmla="*/ 16178973 w 16178973"/>
              <a:gd name="connsiteY4" fmla="*/ 8925699 h 8925699"/>
              <a:gd name="connsiteX5" fmla="*/ 0 w 16178973"/>
              <a:gd name="connsiteY5" fmla="*/ 8919349 h 8925699"/>
              <a:gd name="connsiteX6" fmla="*/ 1841087 w 16178973"/>
              <a:gd name="connsiteY6" fmla="*/ 5845313 h 8925699"/>
              <a:gd name="connsiteX7" fmla="*/ 10892459 w 16178973"/>
              <a:gd name="connsiteY7" fmla="*/ 0 h 8925699"/>
              <a:gd name="connsiteX0" fmla="*/ 10892459 w 16178973"/>
              <a:gd name="connsiteY0" fmla="*/ 0 h 8925699"/>
              <a:gd name="connsiteX1" fmla="*/ 14938927 w 16178973"/>
              <a:gd name="connsiteY1" fmla="*/ 6196910 h 8925699"/>
              <a:gd name="connsiteX2" fmla="*/ 14709361 w 16178973"/>
              <a:gd name="connsiteY2" fmla="*/ 7401063 h 8925699"/>
              <a:gd name="connsiteX3" fmla="*/ 14779211 w 16178973"/>
              <a:gd name="connsiteY3" fmla="*/ 7683638 h 8925699"/>
              <a:gd name="connsiteX4" fmla="*/ 16178973 w 16178973"/>
              <a:gd name="connsiteY4" fmla="*/ 8925699 h 8925699"/>
              <a:gd name="connsiteX5" fmla="*/ 0 w 16178973"/>
              <a:gd name="connsiteY5" fmla="*/ 8919349 h 8925699"/>
              <a:gd name="connsiteX6" fmla="*/ 1841087 w 16178973"/>
              <a:gd name="connsiteY6" fmla="*/ 5845313 h 8925699"/>
              <a:gd name="connsiteX7" fmla="*/ 10892459 w 16178973"/>
              <a:gd name="connsiteY7" fmla="*/ 0 h 8925699"/>
              <a:gd name="connsiteX0" fmla="*/ 10892459 w 16178973"/>
              <a:gd name="connsiteY0" fmla="*/ 0 h 8925699"/>
              <a:gd name="connsiteX1" fmla="*/ 14938927 w 16178973"/>
              <a:gd name="connsiteY1" fmla="*/ 6196910 h 8925699"/>
              <a:gd name="connsiteX2" fmla="*/ 14709361 w 16178973"/>
              <a:gd name="connsiteY2" fmla="*/ 7401063 h 8925699"/>
              <a:gd name="connsiteX3" fmla="*/ 14779211 w 16178973"/>
              <a:gd name="connsiteY3" fmla="*/ 7683638 h 8925699"/>
              <a:gd name="connsiteX4" fmla="*/ 16178973 w 16178973"/>
              <a:gd name="connsiteY4" fmla="*/ 8925699 h 8925699"/>
              <a:gd name="connsiteX5" fmla="*/ 0 w 16178973"/>
              <a:gd name="connsiteY5" fmla="*/ 8919349 h 8925699"/>
              <a:gd name="connsiteX6" fmla="*/ 1841087 w 16178973"/>
              <a:gd name="connsiteY6" fmla="*/ 5845313 h 8925699"/>
              <a:gd name="connsiteX7" fmla="*/ 10892459 w 16178973"/>
              <a:gd name="connsiteY7" fmla="*/ 0 h 8925699"/>
              <a:gd name="connsiteX0" fmla="*/ 10892459 w 16178973"/>
              <a:gd name="connsiteY0" fmla="*/ 0 h 8925699"/>
              <a:gd name="connsiteX1" fmla="*/ 14938927 w 16178973"/>
              <a:gd name="connsiteY1" fmla="*/ 6196910 h 8925699"/>
              <a:gd name="connsiteX2" fmla="*/ 14709361 w 16178973"/>
              <a:gd name="connsiteY2" fmla="*/ 7401063 h 8925699"/>
              <a:gd name="connsiteX3" fmla="*/ 14779211 w 16178973"/>
              <a:gd name="connsiteY3" fmla="*/ 7683638 h 8925699"/>
              <a:gd name="connsiteX4" fmla="*/ 16178973 w 16178973"/>
              <a:gd name="connsiteY4" fmla="*/ 8925699 h 8925699"/>
              <a:gd name="connsiteX5" fmla="*/ 0 w 16178973"/>
              <a:gd name="connsiteY5" fmla="*/ 8919349 h 8925699"/>
              <a:gd name="connsiteX6" fmla="*/ 1841087 w 16178973"/>
              <a:gd name="connsiteY6" fmla="*/ 5845313 h 8925699"/>
              <a:gd name="connsiteX7" fmla="*/ 6003512 w 16178973"/>
              <a:gd name="connsiteY7" fmla="*/ 3159263 h 8925699"/>
              <a:gd name="connsiteX8" fmla="*/ 10892459 w 16178973"/>
              <a:gd name="connsiteY8" fmla="*/ 0 h 8925699"/>
              <a:gd name="connsiteX0" fmla="*/ 10892459 w 16178973"/>
              <a:gd name="connsiteY0" fmla="*/ 0 h 8925699"/>
              <a:gd name="connsiteX1" fmla="*/ 14938927 w 16178973"/>
              <a:gd name="connsiteY1" fmla="*/ 6196910 h 8925699"/>
              <a:gd name="connsiteX2" fmla="*/ 14709361 w 16178973"/>
              <a:gd name="connsiteY2" fmla="*/ 7401063 h 8925699"/>
              <a:gd name="connsiteX3" fmla="*/ 14779211 w 16178973"/>
              <a:gd name="connsiteY3" fmla="*/ 7683638 h 8925699"/>
              <a:gd name="connsiteX4" fmla="*/ 16178973 w 16178973"/>
              <a:gd name="connsiteY4" fmla="*/ 8925699 h 8925699"/>
              <a:gd name="connsiteX5" fmla="*/ 0 w 16178973"/>
              <a:gd name="connsiteY5" fmla="*/ 8919349 h 8925699"/>
              <a:gd name="connsiteX6" fmla="*/ 1841087 w 16178973"/>
              <a:gd name="connsiteY6" fmla="*/ 5845313 h 8925699"/>
              <a:gd name="connsiteX7" fmla="*/ 5152612 w 16178973"/>
              <a:gd name="connsiteY7" fmla="*/ 2460763 h 8925699"/>
              <a:gd name="connsiteX8" fmla="*/ 10892459 w 16178973"/>
              <a:gd name="connsiteY8" fmla="*/ 0 h 8925699"/>
              <a:gd name="connsiteX0" fmla="*/ 10892459 w 16178973"/>
              <a:gd name="connsiteY0" fmla="*/ 0 h 8925699"/>
              <a:gd name="connsiteX1" fmla="*/ 14938927 w 16178973"/>
              <a:gd name="connsiteY1" fmla="*/ 6196910 h 8925699"/>
              <a:gd name="connsiteX2" fmla="*/ 14709361 w 16178973"/>
              <a:gd name="connsiteY2" fmla="*/ 7401063 h 8925699"/>
              <a:gd name="connsiteX3" fmla="*/ 14779211 w 16178973"/>
              <a:gd name="connsiteY3" fmla="*/ 7683638 h 8925699"/>
              <a:gd name="connsiteX4" fmla="*/ 16178973 w 16178973"/>
              <a:gd name="connsiteY4" fmla="*/ 8925699 h 8925699"/>
              <a:gd name="connsiteX5" fmla="*/ 0 w 16178973"/>
              <a:gd name="connsiteY5" fmla="*/ 8919349 h 8925699"/>
              <a:gd name="connsiteX6" fmla="*/ 1841087 w 16178973"/>
              <a:gd name="connsiteY6" fmla="*/ 5845313 h 8925699"/>
              <a:gd name="connsiteX7" fmla="*/ 5152612 w 16178973"/>
              <a:gd name="connsiteY7" fmla="*/ 2460763 h 8925699"/>
              <a:gd name="connsiteX8" fmla="*/ 10892459 w 16178973"/>
              <a:gd name="connsiteY8" fmla="*/ 0 h 8925699"/>
              <a:gd name="connsiteX0" fmla="*/ 10892459 w 16178973"/>
              <a:gd name="connsiteY0" fmla="*/ 0 h 8925699"/>
              <a:gd name="connsiteX1" fmla="*/ 14938927 w 16178973"/>
              <a:gd name="connsiteY1" fmla="*/ 6196910 h 8925699"/>
              <a:gd name="connsiteX2" fmla="*/ 14709361 w 16178973"/>
              <a:gd name="connsiteY2" fmla="*/ 7401063 h 8925699"/>
              <a:gd name="connsiteX3" fmla="*/ 14779211 w 16178973"/>
              <a:gd name="connsiteY3" fmla="*/ 7683638 h 8925699"/>
              <a:gd name="connsiteX4" fmla="*/ 16178973 w 16178973"/>
              <a:gd name="connsiteY4" fmla="*/ 8925699 h 8925699"/>
              <a:gd name="connsiteX5" fmla="*/ 0 w 16178973"/>
              <a:gd name="connsiteY5" fmla="*/ 8919349 h 8925699"/>
              <a:gd name="connsiteX6" fmla="*/ 1841087 w 16178973"/>
              <a:gd name="connsiteY6" fmla="*/ 5845313 h 8925699"/>
              <a:gd name="connsiteX7" fmla="*/ 5152612 w 16178973"/>
              <a:gd name="connsiteY7" fmla="*/ 2460763 h 8925699"/>
              <a:gd name="connsiteX8" fmla="*/ 10892459 w 16178973"/>
              <a:gd name="connsiteY8" fmla="*/ 0 h 8925699"/>
              <a:gd name="connsiteX0" fmla="*/ 10892459 w 16178973"/>
              <a:gd name="connsiteY0" fmla="*/ 0 h 8925699"/>
              <a:gd name="connsiteX1" fmla="*/ 14938927 w 16178973"/>
              <a:gd name="connsiteY1" fmla="*/ 6196910 h 8925699"/>
              <a:gd name="connsiteX2" fmla="*/ 14709361 w 16178973"/>
              <a:gd name="connsiteY2" fmla="*/ 7401063 h 8925699"/>
              <a:gd name="connsiteX3" fmla="*/ 14779211 w 16178973"/>
              <a:gd name="connsiteY3" fmla="*/ 7683638 h 8925699"/>
              <a:gd name="connsiteX4" fmla="*/ 16178973 w 16178973"/>
              <a:gd name="connsiteY4" fmla="*/ 8925699 h 8925699"/>
              <a:gd name="connsiteX5" fmla="*/ 0 w 16178973"/>
              <a:gd name="connsiteY5" fmla="*/ 8919349 h 8925699"/>
              <a:gd name="connsiteX6" fmla="*/ 1841087 w 16178973"/>
              <a:gd name="connsiteY6" fmla="*/ 5845313 h 8925699"/>
              <a:gd name="connsiteX7" fmla="*/ 5152612 w 16178973"/>
              <a:gd name="connsiteY7" fmla="*/ 2460763 h 8925699"/>
              <a:gd name="connsiteX8" fmla="*/ 9146762 w 16178973"/>
              <a:gd name="connsiteY8" fmla="*/ 749438 h 8925699"/>
              <a:gd name="connsiteX9" fmla="*/ 10892459 w 16178973"/>
              <a:gd name="connsiteY9" fmla="*/ 0 h 8925699"/>
              <a:gd name="connsiteX0" fmla="*/ 10892459 w 16178973"/>
              <a:gd name="connsiteY0" fmla="*/ 0 h 8925699"/>
              <a:gd name="connsiteX1" fmla="*/ 14938927 w 16178973"/>
              <a:gd name="connsiteY1" fmla="*/ 6196910 h 8925699"/>
              <a:gd name="connsiteX2" fmla="*/ 14709361 w 16178973"/>
              <a:gd name="connsiteY2" fmla="*/ 7401063 h 8925699"/>
              <a:gd name="connsiteX3" fmla="*/ 14779211 w 16178973"/>
              <a:gd name="connsiteY3" fmla="*/ 7683638 h 8925699"/>
              <a:gd name="connsiteX4" fmla="*/ 16178973 w 16178973"/>
              <a:gd name="connsiteY4" fmla="*/ 8925699 h 8925699"/>
              <a:gd name="connsiteX5" fmla="*/ 0 w 16178973"/>
              <a:gd name="connsiteY5" fmla="*/ 8919349 h 8925699"/>
              <a:gd name="connsiteX6" fmla="*/ 1841087 w 16178973"/>
              <a:gd name="connsiteY6" fmla="*/ 5845313 h 8925699"/>
              <a:gd name="connsiteX7" fmla="*/ 5152612 w 16178973"/>
              <a:gd name="connsiteY7" fmla="*/ 2460763 h 8925699"/>
              <a:gd name="connsiteX8" fmla="*/ 9238837 w 16178973"/>
              <a:gd name="connsiteY8" fmla="*/ 371613 h 8925699"/>
              <a:gd name="connsiteX9" fmla="*/ 10892459 w 16178973"/>
              <a:gd name="connsiteY9" fmla="*/ 0 h 8925699"/>
              <a:gd name="connsiteX0" fmla="*/ 10892459 w 16178973"/>
              <a:gd name="connsiteY0" fmla="*/ 0 h 8925699"/>
              <a:gd name="connsiteX1" fmla="*/ 14938927 w 16178973"/>
              <a:gd name="connsiteY1" fmla="*/ 6196910 h 8925699"/>
              <a:gd name="connsiteX2" fmla="*/ 14709361 w 16178973"/>
              <a:gd name="connsiteY2" fmla="*/ 7401063 h 8925699"/>
              <a:gd name="connsiteX3" fmla="*/ 14779211 w 16178973"/>
              <a:gd name="connsiteY3" fmla="*/ 7683638 h 8925699"/>
              <a:gd name="connsiteX4" fmla="*/ 16178973 w 16178973"/>
              <a:gd name="connsiteY4" fmla="*/ 8925699 h 8925699"/>
              <a:gd name="connsiteX5" fmla="*/ 0 w 16178973"/>
              <a:gd name="connsiteY5" fmla="*/ 8919349 h 8925699"/>
              <a:gd name="connsiteX6" fmla="*/ 1841087 w 16178973"/>
              <a:gd name="connsiteY6" fmla="*/ 5845313 h 8925699"/>
              <a:gd name="connsiteX7" fmla="*/ 5152612 w 16178973"/>
              <a:gd name="connsiteY7" fmla="*/ 2460763 h 8925699"/>
              <a:gd name="connsiteX8" fmla="*/ 8086312 w 16178973"/>
              <a:gd name="connsiteY8" fmla="*/ 958988 h 8925699"/>
              <a:gd name="connsiteX9" fmla="*/ 9238837 w 16178973"/>
              <a:gd name="connsiteY9" fmla="*/ 371613 h 8925699"/>
              <a:gd name="connsiteX10" fmla="*/ 10892459 w 16178973"/>
              <a:gd name="connsiteY10" fmla="*/ 0 h 8925699"/>
              <a:gd name="connsiteX0" fmla="*/ 10892459 w 16178973"/>
              <a:gd name="connsiteY0" fmla="*/ 0 h 8925699"/>
              <a:gd name="connsiteX1" fmla="*/ 14938927 w 16178973"/>
              <a:gd name="connsiteY1" fmla="*/ 6196910 h 8925699"/>
              <a:gd name="connsiteX2" fmla="*/ 14709361 w 16178973"/>
              <a:gd name="connsiteY2" fmla="*/ 7401063 h 8925699"/>
              <a:gd name="connsiteX3" fmla="*/ 14779211 w 16178973"/>
              <a:gd name="connsiteY3" fmla="*/ 7683638 h 8925699"/>
              <a:gd name="connsiteX4" fmla="*/ 16178973 w 16178973"/>
              <a:gd name="connsiteY4" fmla="*/ 8925699 h 8925699"/>
              <a:gd name="connsiteX5" fmla="*/ 0 w 16178973"/>
              <a:gd name="connsiteY5" fmla="*/ 8919349 h 8925699"/>
              <a:gd name="connsiteX6" fmla="*/ 1841087 w 16178973"/>
              <a:gd name="connsiteY6" fmla="*/ 5845313 h 8925699"/>
              <a:gd name="connsiteX7" fmla="*/ 5152612 w 16178973"/>
              <a:gd name="connsiteY7" fmla="*/ 2460763 h 8925699"/>
              <a:gd name="connsiteX8" fmla="*/ 7378287 w 16178973"/>
              <a:gd name="connsiteY8" fmla="*/ 1105038 h 8925699"/>
              <a:gd name="connsiteX9" fmla="*/ 9238837 w 16178973"/>
              <a:gd name="connsiteY9" fmla="*/ 371613 h 8925699"/>
              <a:gd name="connsiteX10" fmla="*/ 10892459 w 16178973"/>
              <a:gd name="connsiteY10" fmla="*/ 0 h 8925699"/>
              <a:gd name="connsiteX0" fmla="*/ 10901984 w 16178973"/>
              <a:gd name="connsiteY0" fmla="*/ 0 h 8912999"/>
              <a:gd name="connsiteX1" fmla="*/ 14938927 w 16178973"/>
              <a:gd name="connsiteY1" fmla="*/ 6184210 h 8912999"/>
              <a:gd name="connsiteX2" fmla="*/ 14709361 w 16178973"/>
              <a:gd name="connsiteY2" fmla="*/ 7388363 h 8912999"/>
              <a:gd name="connsiteX3" fmla="*/ 14779211 w 16178973"/>
              <a:gd name="connsiteY3" fmla="*/ 7670938 h 8912999"/>
              <a:gd name="connsiteX4" fmla="*/ 16178973 w 16178973"/>
              <a:gd name="connsiteY4" fmla="*/ 8912999 h 8912999"/>
              <a:gd name="connsiteX5" fmla="*/ 0 w 16178973"/>
              <a:gd name="connsiteY5" fmla="*/ 8906649 h 8912999"/>
              <a:gd name="connsiteX6" fmla="*/ 1841087 w 16178973"/>
              <a:gd name="connsiteY6" fmla="*/ 5832613 h 8912999"/>
              <a:gd name="connsiteX7" fmla="*/ 5152612 w 16178973"/>
              <a:gd name="connsiteY7" fmla="*/ 2448063 h 8912999"/>
              <a:gd name="connsiteX8" fmla="*/ 7378287 w 16178973"/>
              <a:gd name="connsiteY8" fmla="*/ 1092338 h 8912999"/>
              <a:gd name="connsiteX9" fmla="*/ 9238837 w 16178973"/>
              <a:gd name="connsiteY9" fmla="*/ 358913 h 8912999"/>
              <a:gd name="connsiteX10" fmla="*/ 10901984 w 16178973"/>
              <a:gd name="connsiteY10" fmla="*/ 0 h 8912999"/>
              <a:gd name="connsiteX0" fmla="*/ 10901984 w 16178973"/>
              <a:gd name="connsiteY0" fmla="*/ 0 h 8912999"/>
              <a:gd name="connsiteX1" fmla="*/ 14938927 w 16178973"/>
              <a:gd name="connsiteY1" fmla="*/ 6184210 h 8912999"/>
              <a:gd name="connsiteX2" fmla="*/ 14709361 w 16178973"/>
              <a:gd name="connsiteY2" fmla="*/ 7388363 h 8912999"/>
              <a:gd name="connsiteX3" fmla="*/ 14779211 w 16178973"/>
              <a:gd name="connsiteY3" fmla="*/ 7670938 h 8912999"/>
              <a:gd name="connsiteX4" fmla="*/ 16178973 w 16178973"/>
              <a:gd name="connsiteY4" fmla="*/ 8912999 h 8912999"/>
              <a:gd name="connsiteX5" fmla="*/ 0 w 16178973"/>
              <a:gd name="connsiteY5" fmla="*/ 8906649 h 8912999"/>
              <a:gd name="connsiteX6" fmla="*/ 1841087 w 16178973"/>
              <a:gd name="connsiteY6" fmla="*/ 5832613 h 8912999"/>
              <a:gd name="connsiteX7" fmla="*/ 5152612 w 16178973"/>
              <a:gd name="connsiteY7" fmla="*/ 2448063 h 8912999"/>
              <a:gd name="connsiteX8" fmla="*/ 7378287 w 16178973"/>
              <a:gd name="connsiteY8" fmla="*/ 1092338 h 8912999"/>
              <a:gd name="connsiteX9" fmla="*/ 9238837 w 16178973"/>
              <a:gd name="connsiteY9" fmla="*/ 358913 h 8912999"/>
              <a:gd name="connsiteX10" fmla="*/ 10901984 w 16178973"/>
              <a:gd name="connsiteY10" fmla="*/ 0 h 8912999"/>
              <a:gd name="connsiteX0" fmla="*/ 10901984 w 16178973"/>
              <a:gd name="connsiteY0" fmla="*/ 0 h 8912999"/>
              <a:gd name="connsiteX1" fmla="*/ 14938927 w 16178973"/>
              <a:gd name="connsiteY1" fmla="*/ 6184210 h 8912999"/>
              <a:gd name="connsiteX2" fmla="*/ 14709361 w 16178973"/>
              <a:gd name="connsiteY2" fmla="*/ 7388363 h 8912999"/>
              <a:gd name="connsiteX3" fmla="*/ 14779211 w 16178973"/>
              <a:gd name="connsiteY3" fmla="*/ 7670938 h 8912999"/>
              <a:gd name="connsiteX4" fmla="*/ 16178973 w 16178973"/>
              <a:gd name="connsiteY4" fmla="*/ 8912999 h 8912999"/>
              <a:gd name="connsiteX5" fmla="*/ 0 w 16178973"/>
              <a:gd name="connsiteY5" fmla="*/ 8906649 h 8912999"/>
              <a:gd name="connsiteX6" fmla="*/ 1841087 w 16178973"/>
              <a:gd name="connsiteY6" fmla="*/ 5832613 h 8912999"/>
              <a:gd name="connsiteX7" fmla="*/ 5152612 w 16178973"/>
              <a:gd name="connsiteY7" fmla="*/ 2448063 h 8912999"/>
              <a:gd name="connsiteX8" fmla="*/ 7378287 w 16178973"/>
              <a:gd name="connsiteY8" fmla="*/ 1092338 h 8912999"/>
              <a:gd name="connsiteX9" fmla="*/ 9238837 w 16178973"/>
              <a:gd name="connsiteY9" fmla="*/ 358913 h 8912999"/>
              <a:gd name="connsiteX10" fmla="*/ 10901984 w 16178973"/>
              <a:gd name="connsiteY10" fmla="*/ 0 h 8912999"/>
              <a:gd name="connsiteX0" fmla="*/ 10901984 w 16178973"/>
              <a:gd name="connsiteY0" fmla="*/ 0 h 8912999"/>
              <a:gd name="connsiteX1" fmla="*/ 14938927 w 16178973"/>
              <a:gd name="connsiteY1" fmla="*/ 6184210 h 8912999"/>
              <a:gd name="connsiteX2" fmla="*/ 14709361 w 16178973"/>
              <a:gd name="connsiteY2" fmla="*/ 7388363 h 8912999"/>
              <a:gd name="connsiteX3" fmla="*/ 14779211 w 16178973"/>
              <a:gd name="connsiteY3" fmla="*/ 7670938 h 8912999"/>
              <a:gd name="connsiteX4" fmla="*/ 16178973 w 16178973"/>
              <a:gd name="connsiteY4" fmla="*/ 8912999 h 8912999"/>
              <a:gd name="connsiteX5" fmla="*/ 0 w 16178973"/>
              <a:gd name="connsiteY5" fmla="*/ 8906649 h 8912999"/>
              <a:gd name="connsiteX6" fmla="*/ 1841087 w 16178973"/>
              <a:gd name="connsiteY6" fmla="*/ 5832613 h 8912999"/>
              <a:gd name="connsiteX7" fmla="*/ 5152612 w 16178973"/>
              <a:gd name="connsiteY7" fmla="*/ 2448063 h 8912999"/>
              <a:gd name="connsiteX8" fmla="*/ 7378287 w 16178973"/>
              <a:gd name="connsiteY8" fmla="*/ 1092338 h 8912999"/>
              <a:gd name="connsiteX9" fmla="*/ 9238837 w 16178973"/>
              <a:gd name="connsiteY9" fmla="*/ 358913 h 8912999"/>
              <a:gd name="connsiteX10" fmla="*/ 10901984 w 16178973"/>
              <a:gd name="connsiteY10" fmla="*/ 0 h 8912999"/>
              <a:gd name="connsiteX0" fmla="*/ 10901984 w 16178973"/>
              <a:gd name="connsiteY0" fmla="*/ 0 h 8912999"/>
              <a:gd name="connsiteX1" fmla="*/ 14938927 w 16178973"/>
              <a:gd name="connsiteY1" fmla="*/ 6184210 h 8912999"/>
              <a:gd name="connsiteX2" fmla="*/ 14709361 w 16178973"/>
              <a:gd name="connsiteY2" fmla="*/ 7388363 h 8912999"/>
              <a:gd name="connsiteX3" fmla="*/ 14779211 w 16178973"/>
              <a:gd name="connsiteY3" fmla="*/ 7670938 h 8912999"/>
              <a:gd name="connsiteX4" fmla="*/ 16178973 w 16178973"/>
              <a:gd name="connsiteY4" fmla="*/ 8912999 h 8912999"/>
              <a:gd name="connsiteX5" fmla="*/ 0 w 16178973"/>
              <a:gd name="connsiteY5" fmla="*/ 8906649 h 8912999"/>
              <a:gd name="connsiteX6" fmla="*/ 1841087 w 16178973"/>
              <a:gd name="connsiteY6" fmla="*/ 5832613 h 8912999"/>
              <a:gd name="connsiteX7" fmla="*/ 5152612 w 16178973"/>
              <a:gd name="connsiteY7" fmla="*/ 2448063 h 8912999"/>
              <a:gd name="connsiteX8" fmla="*/ 7378287 w 16178973"/>
              <a:gd name="connsiteY8" fmla="*/ 1092338 h 8912999"/>
              <a:gd name="connsiteX9" fmla="*/ 9238837 w 16178973"/>
              <a:gd name="connsiteY9" fmla="*/ 358913 h 8912999"/>
              <a:gd name="connsiteX10" fmla="*/ 10901984 w 16178973"/>
              <a:gd name="connsiteY10" fmla="*/ 0 h 8912999"/>
              <a:gd name="connsiteX0" fmla="*/ 10901984 w 16178973"/>
              <a:gd name="connsiteY0" fmla="*/ 0 h 8912999"/>
              <a:gd name="connsiteX1" fmla="*/ 14938927 w 16178973"/>
              <a:gd name="connsiteY1" fmla="*/ 6184210 h 8912999"/>
              <a:gd name="connsiteX2" fmla="*/ 14709361 w 16178973"/>
              <a:gd name="connsiteY2" fmla="*/ 7388363 h 8912999"/>
              <a:gd name="connsiteX3" fmla="*/ 14779211 w 16178973"/>
              <a:gd name="connsiteY3" fmla="*/ 7670938 h 8912999"/>
              <a:gd name="connsiteX4" fmla="*/ 16178973 w 16178973"/>
              <a:gd name="connsiteY4" fmla="*/ 8912999 h 8912999"/>
              <a:gd name="connsiteX5" fmla="*/ 0 w 16178973"/>
              <a:gd name="connsiteY5" fmla="*/ 8906649 h 8912999"/>
              <a:gd name="connsiteX6" fmla="*/ 1841087 w 16178973"/>
              <a:gd name="connsiteY6" fmla="*/ 5832613 h 8912999"/>
              <a:gd name="connsiteX7" fmla="*/ 5152612 w 16178973"/>
              <a:gd name="connsiteY7" fmla="*/ 2448063 h 8912999"/>
              <a:gd name="connsiteX8" fmla="*/ 7378287 w 16178973"/>
              <a:gd name="connsiteY8" fmla="*/ 1092338 h 8912999"/>
              <a:gd name="connsiteX9" fmla="*/ 9238837 w 16178973"/>
              <a:gd name="connsiteY9" fmla="*/ 358913 h 8912999"/>
              <a:gd name="connsiteX10" fmla="*/ 10901984 w 16178973"/>
              <a:gd name="connsiteY10" fmla="*/ 0 h 8912999"/>
              <a:gd name="connsiteX0" fmla="*/ 10901984 w 16178973"/>
              <a:gd name="connsiteY0" fmla="*/ 0 h 8912999"/>
              <a:gd name="connsiteX1" fmla="*/ 14938927 w 16178973"/>
              <a:gd name="connsiteY1" fmla="*/ 6184210 h 8912999"/>
              <a:gd name="connsiteX2" fmla="*/ 14709361 w 16178973"/>
              <a:gd name="connsiteY2" fmla="*/ 7388363 h 8912999"/>
              <a:gd name="connsiteX3" fmla="*/ 14779211 w 16178973"/>
              <a:gd name="connsiteY3" fmla="*/ 7670938 h 8912999"/>
              <a:gd name="connsiteX4" fmla="*/ 16178973 w 16178973"/>
              <a:gd name="connsiteY4" fmla="*/ 8912999 h 8912999"/>
              <a:gd name="connsiteX5" fmla="*/ 0 w 16178973"/>
              <a:gd name="connsiteY5" fmla="*/ 8906649 h 8912999"/>
              <a:gd name="connsiteX6" fmla="*/ 1841087 w 16178973"/>
              <a:gd name="connsiteY6" fmla="*/ 5832613 h 8912999"/>
              <a:gd name="connsiteX7" fmla="*/ 5152612 w 16178973"/>
              <a:gd name="connsiteY7" fmla="*/ 2448063 h 8912999"/>
              <a:gd name="connsiteX8" fmla="*/ 7378287 w 16178973"/>
              <a:gd name="connsiteY8" fmla="*/ 1092338 h 8912999"/>
              <a:gd name="connsiteX9" fmla="*/ 9238837 w 16178973"/>
              <a:gd name="connsiteY9" fmla="*/ 358913 h 8912999"/>
              <a:gd name="connsiteX10" fmla="*/ 10901984 w 16178973"/>
              <a:gd name="connsiteY10" fmla="*/ 0 h 8912999"/>
              <a:gd name="connsiteX0" fmla="*/ 10901984 w 16178973"/>
              <a:gd name="connsiteY0" fmla="*/ 0 h 8912999"/>
              <a:gd name="connsiteX1" fmla="*/ 14938927 w 16178973"/>
              <a:gd name="connsiteY1" fmla="*/ 6184210 h 8912999"/>
              <a:gd name="connsiteX2" fmla="*/ 14709361 w 16178973"/>
              <a:gd name="connsiteY2" fmla="*/ 7388363 h 8912999"/>
              <a:gd name="connsiteX3" fmla="*/ 14779211 w 16178973"/>
              <a:gd name="connsiteY3" fmla="*/ 7670938 h 8912999"/>
              <a:gd name="connsiteX4" fmla="*/ 16178973 w 16178973"/>
              <a:gd name="connsiteY4" fmla="*/ 8912999 h 8912999"/>
              <a:gd name="connsiteX5" fmla="*/ 0 w 16178973"/>
              <a:gd name="connsiteY5" fmla="*/ 8906649 h 8912999"/>
              <a:gd name="connsiteX6" fmla="*/ 1841087 w 16178973"/>
              <a:gd name="connsiteY6" fmla="*/ 5832613 h 8912999"/>
              <a:gd name="connsiteX7" fmla="*/ 5152612 w 16178973"/>
              <a:gd name="connsiteY7" fmla="*/ 2448063 h 8912999"/>
              <a:gd name="connsiteX8" fmla="*/ 7378287 w 16178973"/>
              <a:gd name="connsiteY8" fmla="*/ 1092338 h 8912999"/>
              <a:gd name="connsiteX9" fmla="*/ 9238837 w 16178973"/>
              <a:gd name="connsiteY9" fmla="*/ 358913 h 8912999"/>
              <a:gd name="connsiteX10" fmla="*/ 10901984 w 16178973"/>
              <a:gd name="connsiteY10" fmla="*/ 0 h 8912999"/>
              <a:gd name="connsiteX0" fmla="*/ 10901984 w 16178973"/>
              <a:gd name="connsiteY0" fmla="*/ 0 h 8912999"/>
              <a:gd name="connsiteX1" fmla="*/ 14938927 w 16178973"/>
              <a:gd name="connsiteY1" fmla="*/ 6184210 h 8912999"/>
              <a:gd name="connsiteX2" fmla="*/ 14709361 w 16178973"/>
              <a:gd name="connsiteY2" fmla="*/ 7388363 h 8912999"/>
              <a:gd name="connsiteX3" fmla="*/ 14779211 w 16178973"/>
              <a:gd name="connsiteY3" fmla="*/ 7670938 h 8912999"/>
              <a:gd name="connsiteX4" fmla="*/ 16178973 w 16178973"/>
              <a:gd name="connsiteY4" fmla="*/ 8912999 h 8912999"/>
              <a:gd name="connsiteX5" fmla="*/ 0 w 16178973"/>
              <a:gd name="connsiteY5" fmla="*/ 8906649 h 8912999"/>
              <a:gd name="connsiteX6" fmla="*/ 1841087 w 16178973"/>
              <a:gd name="connsiteY6" fmla="*/ 5832613 h 8912999"/>
              <a:gd name="connsiteX7" fmla="*/ 5152612 w 16178973"/>
              <a:gd name="connsiteY7" fmla="*/ 2448063 h 8912999"/>
              <a:gd name="connsiteX8" fmla="*/ 7378287 w 16178973"/>
              <a:gd name="connsiteY8" fmla="*/ 1092338 h 8912999"/>
              <a:gd name="connsiteX9" fmla="*/ 9238837 w 16178973"/>
              <a:gd name="connsiteY9" fmla="*/ 358913 h 8912999"/>
              <a:gd name="connsiteX10" fmla="*/ 10901984 w 16178973"/>
              <a:gd name="connsiteY10" fmla="*/ 0 h 8912999"/>
              <a:gd name="connsiteX0" fmla="*/ 10901984 w 16178973"/>
              <a:gd name="connsiteY0" fmla="*/ 0 h 8912999"/>
              <a:gd name="connsiteX1" fmla="*/ 14643150 w 16178973"/>
              <a:gd name="connsiteY1" fmla="*/ 5732762 h 8912999"/>
              <a:gd name="connsiteX2" fmla="*/ 14709361 w 16178973"/>
              <a:gd name="connsiteY2" fmla="*/ 7388363 h 8912999"/>
              <a:gd name="connsiteX3" fmla="*/ 14779211 w 16178973"/>
              <a:gd name="connsiteY3" fmla="*/ 7670938 h 8912999"/>
              <a:gd name="connsiteX4" fmla="*/ 16178973 w 16178973"/>
              <a:gd name="connsiteY4" fmla="*/ 8912999 h 8912999"/>
              <a:gd name="connsiteX5" fmla="*/ 0 w 16178973"/>
              <a:gd name="connsiteY5" fmla="*/ 8906649 h 8912999"/>
              <a:gd name="connsiteX6" fmla="*/ 1841087 w 16178973"/>
              <a:gd name="connsiteY6" fmla="*/ 5832613 h 8912999"/>
              <a:gd name="connsiteX7" fmla="*/ 5152612 w 16178973"/>
              <a:gd name="connsiteY7" fmla="*/ 2448063 h 8912999"/>
              <a:gd name="connsiteX8" fmla="*/ 7378287 w 16178973"/>
              <a:gd name="connsiteY8" fmla="*/ 1092338 h 8912999"/>
              <a:gd name="connsiteX9" fmla="*/ 9238837 w 16178973"/>
              <a:gd name="connsiteY9" fmla="*/ 358913 h 8912999"/>
              <a:gd name="connsiteX10" fmla="*/ 10901984 w 16178973"/>
              <a:gd name="connsiteY10" fmla="*/ 0 h 8912999"/>
              <a:gd name="connsiteX0" fmla="*/ 10901984 w 16178973"/>
              <a:gd name="connsiteY0" fmla="*/ 0 h 8912999"/>
              <a:gd name="connsiteX1" fmla="*/ 14643150 w 16178973"/>
              <a:gd name="connsiteY1" fmla="*/ 5732762 h 8912999"/>
              <a:gd name="connsiteX2" fmla="*/ 14425260 w 16178973"/>
              <a:gd name="connsiteY2" fmla="*/ 6789027 h 8912999"/>
              <a:gd name="connsiteX3" fmla="*/ 14779211 w 16178973"/>
              <a:gd name="connsiteY3" fmla="*/ 7670938 h 8912999"/>
              <a:gd name="connsiteX4" fmla="*/ 16178973 w 16178973"/>
              <a:gd name="connsiteY4" fmla="*/ 8912999 h 8912999"/>
              <a:gd name="connsiteX5" fmla="*/ 0 w 16178973"/>
              <a:gd name="connsiteY5" fmla="*/ 8906649 h 8912999"/>
              <a:gd name="connsiteX6" fmla="*/ 1841087 w 16178973"/>
              <a:gd name="connsiteY6" fmla="*/ 5832613 h 8912999"/>
              <a:gd name="connsiteX7" fmla="*/ 5152612 w 16178973"/>
              <a:gd name="connsiteY7" fmla="*/ 2448063 h 8912999"/>
              <a:gd name="connsiteX8" fmla="*/ 7378287 w 16178973"/>
              <a:gd name="connsiteY8" fmla="*/ 1092338 h 8912999"/>
              <a:gd name="connsiteX9" fmla="*/ 9238837 w 16178973"/>
              <a:gd name="connsiteY9" fmla="*/ 358913 h 8912999"/>
              <a:gd name="connsiteX10" fmla="*/ 10901984 w 16178973"/>
              <a:gd name="connsiteY10" fmla="*/ 0 h 8912999"/>
              <a:gd name="connsiteX0" fmla="*/ 10901984 w 16178973"/>
              <a:gd name="connsiteY0" fmla="*/ 0 h 8912999"/>
              <a:gd name="connsiteX1" fmla="*/ 14631475 w 16178973"/>
              <a:gd name="connsiteY1" fmla="*/ 5721087 h 8912999"/>
              <a:gd name="connsiteX2" fmla="*/ 14425260 w 16178973"/>
              <a:gd name="connsiteY2" fmla="*/ 6789027 h 8912999"/>
              <a:gd name="connsiteX3" fmla="*/ 14779211 w 16178973"/>
              <a:gd name="connsiteY3" fmla="*/ 7670938 h 8912999"/>
              <a:gd name="connsiteX4" fmla="*/ 16178973 w 16178973"/>
              <a:gd name="connsiteY4" fmla="*/ 8912999 h 8912999"/>
              <a:gd name="connsiteX5" fmla="*/ 0 w 16178973"/>
              <a:gd name="connsiteY5" fmla="*/ 8906649 h 8912999"/>
              <a:gd name="connsiteX6" fmla="*/ 1841087 w 16178973"/>
              <a:gd name="connsiteY6" fmla="*/ 5832613 h 8912999"/>
              <a:gd name="connsiteX7" fmla="*/ 5152612 w 16178973"/>
              <a:gd name="connsiteY7" fmla="*/ 2448063 h 8912999"/>
              <a:gd name="connsiteX8" fmla="*/ 7378287 w 16178973"/>
              <a:gd name="connsiteY8" fmla="*/ 1092338 h 8912999"/>
              <a:gd name="connsiteX9" fmla="*/ 9238837 w 16178973"/>
              <a:gd name="connsiteY9" fmla="*/ 358913 h 8912999"/>
              <a:gd name="connsiteX10" fmla="*/ 10901984 w 16178973"/>
              <a:gd name="connsiteY10" fmla="*/ 0 h 8912999"/>
              <a:gd name="connsiteX0" fmla="*/ 10901984 w 16178973"/>
              <a:gd name="connsiteY0" fmla="*/ 0 h 8912999"/>
              <a:gd name="connsiteX1" fmla="*/ 14631475 w 16178973"/>
              <a:gd name="connsiteY1" fmla="*/ 5713304 h 8912999"/>
              <a:gd name="connsiteX2" fmla="*/ 14425260 w 16178973"/>
              <a:gd name="connsiteY2" fmla="*/ 6789027 h 8912999"/>
              <a:gd name="connsiteX3" fmla="*/ 14779211 w 16178973"/>
              <a:gd name="connsiteY3" fmla="*/ 7670938 h 8912999"/>
              <a:gd name="connsiteX4" fmla="*/ 16178973 w 16178973"/>
              <a:gd name="connsiteY4" fmla="*/ 8912999 h 8912999"/>
              <a:gd name="connsiteX5" fmla="*/ 0 w 16178973"/>
              <a:gd name="connsiteY5" fmla="*/ 8906649 h 8912999"/>
              <a:gd name="connsiteX6" fmla="*/ 1841087 w 16178973"/>
              <a:gd name="connsiteY6" fmla="*/ 5832613 h 8912999"/>
              <a:gd name="connsiteX7" fmla="*/ 5152612 w 16178973"/>
              <a:gd name="connsiteY7" fmla="*/ 2448063 h 8912999"/>
              <a:gd name="connsiteX8" fmla="*/ 7378287 w 16178973"/>
              <a:gd name="connsiteY8" fmla="*/ 1092338 h 8912999"/>
              <a:gd name="connsiteX9" fmla="*/ 9238837 w 16178973"/>
              <a:gd name="connsiteY9" fmla="*/ 358913 h 8912999"/>
              <a:gd name="connsiteX10" fmla="*/ 10901984 w 16178973"/>
              <a:gd name="connsiteY10" fmla="*/ 0 h 8912999"/>
              <a:gd name="connsiteX0" fmla="*/ 10901984 w 16178973"/>
              <a:gd name="connsiteY0" fmla="*/ 0 h 8912999"/>
              <a:gd name="connsiteX1" fmla="*/ 14631475 w 16178973"/>
              <a:gd name="connsiteY1" fmla="*/ 5713304 h 8912999"/>
              <a:gd name="connsiteX2" fmla="*/ 14425260 w 16178973"/>
              <a:gd name="connsiteY2" fmla="*/ 6789027 h 8912999"/>
              <a:gd name="connsiteX3" fmla="*/ 14499002 w 16178973"/>
              <a:gd name="connsiteY3" fmla="*/ 7106627 h 8912999"/>
              <a:gd name="connsiteX4" fmla="*/ 16178973 w 16178973"/>
              <a:gd name="connsiteY4" fmla="*/ 8912999 h 8912999"/>
              <a:gd name="connsiteX5" fmla="*/ 0 w 16178973"/>
              <a:gd name="connsiteY5" fmla="*/ 8906649 h 8912999"/>
              <a:gd name="connsiteX6" fmla="*/ 1841087 w 16178973"/>
              <a:gd name="connsiteY6" fmla="*/ 5832613 h 8912999"/>
              <a:gd name="connsiteX7" fmla="*/ 5152612 w 16178973"/>
              <a:gd name="connsiteY7" fmla="*/ 2448063 h 8912999"/>
              <a:gd name="connsiteX8" fmla="*/ 7378287 w 16178973"/>
              <a:gd name="connsiteY8" fmla="*/ 1092338 h 8912999"/>
              <a:gd name="connsiteX9" fmla="*/ 9238837 w 16178973"/>
              <a:gd name="connsiteY9" fmla="*/ 358913 h 8912999"/>
              <a:gd name="connsiteX10" fmla="*/ 10901984 w 16178973"/>
              <a:gd name="connsiteY10" fmla="*/ 0 h 8912999"/>
              <a:gd name="connsiteX0" fmla="*/ 10901984 w 16178973"/>
              <a:gd name="connsiteY0" fmla="*/ 0 h 8912999"/>
              <a:gd name="connsiteX1" fmla="*/ 14631475 w 16178973"/>
              <a:gd name="connsiteY1" fmla="*/ 5713304 h 8912999"/>
              <a:gd name="connsiteX2" fmla="*/ 14417476 w 16178973"/>
              <a:gd name="connsiteY2" fmla="*/ 6831837 h 8912999"/>
              <a:gd name="connsiteX3" fmla="*/ 14499002 w 16178973"/>
              <a:gd name="connsiteY3" fmla="*/ 7106627 h 8912999"/>
              <a:gd name="connsiteX4" fmla="*/ 16178973 w 16178973"/>
              <a:gd name="connsiteY4" fmla="*/ 8912999 h 8912999"/>
              <a:gd name="connsiteX5" fmla="*/ 0 w 16178973"/>
              <a:gd name="connsiteY5" fmla="*/ 8906649 h 8912999"/>
              <a:gd name="connsiteX6" fmla="*/ 1841087 w 16178973"/>
              <a:gd name="connsiteY6" fmla="*/ 5832613 h 8912999"/>
              <a:gd name="connsiteX7" fmla="*/ 5152612 w 16178973"/>
              <a:gd name="connsiteY7" fmla="*/ 2448063 h 8912999"/>
              <a:gd name="connsiteX8" fmla="*/ 7378287 w 16178973"/>
              <a:gd name="connsiteY8" fmla="*/ 1092338 h 8912999"/>
              <a:gd name="connsiteX9" fmla="*/ 9238837 w 16178973"/>
              <a:gd name="connsiteY9" fmla="*/ 358913 h 8912999"/>
              <a:gd name="connsiteX10" fmla="*/ 10901984 w 16178973"/>
              <a:gd name="connsiteY10" fmla="*/ 0 h 8912999"/>
              <a:gd name="connsiteX0" fmla="*/ 10901984 w 16178973"/>
              <a:gd name="connsiteY0" fmla="*/ 0 h 8912999"/>
              <a:gd name="connsiteX1" fmla="*/ 14631475 w 16178973"/>
              <a:gd name="connsiteY1" fmla="*/ 5713304 h 8912999"/>
              <a:gd name="connsiteX2" fmla="*/ 14417476 w 16178973"/>
              <a:gd name="connsiteY2" fmla="*/ 6831837 h 8912999"/>
              <a:gd name="connsiteX3" fmla="*/ 14514569 w 16178973"/>
              <a:gd name="connsiteY3" fmla="*/ 7122194 h 8912999"/>
              <a:gd name="connsiteX4" fmla="*/ 16178973 w 16178973"/>
              <a:gd name="connsiteY4" fmla="*/ 8912999 h 8912999"/>
              <a:gd name="connsiteX5" fmla="*/ 0 w 16178973"/>
              <a:gd name="connsiteY5" fmla="*/ 8906649 h 8912999"/>
              <a:gd name="connsiteX6" fmla="*/ 1841087 w 16178973"/>
              <a:gd name="connsiteY6" fmla="*/ 5832613 h 8912999"/>
              <a:gd name="connsiteX7" fmla="*/ 5152612 w 16178973"/>
              <a:gd name="connsiteY7" fmla="*/ 2448063 h 8912999"/>
              <a:gd name="connsiteX8" fmla="*/ 7378287 w 16178973"/>
              <a:gd name="connsiteY8" fmla="*/ 1092338 h 8912999"/>
              <a:gd name="connsiteX9" fmla="*/ 9238837 w 16178973"/>
              <a:gd name="connsiteY9" fmla="*/ 358913 h 8912999"/>
              <a:gd name="connsiteX10" fmla="*/ 10901984 w 16178973"/>
              <a:gd name="connsiteY10" fmla="*/ 0 h 8912999"/>
              <a:gd name="connsiteX0" fmla="*/ 10901984 w 16529235"/>
              <a:gd name="connsiteY0" fmla="*/ 0 h 8912999"/>
              <a:gd name="connsiteX1" fmla="*/ 14631475 w 16529235"/>
              <a:gd name="connsiteY1" fmla="*/ 5713304 h 8912999"/>
              <a:gd name="connsiteX2" fmla="*/ 14417476 w 16529235"/>
              <a:gd name="connsiteY2" fmla="*/ 6831837 h 8912999"/>
              <a:gd name="connsiteX3" fmla="*/ 14514569 w 16529235"/>
              <a:gd name="connsiteY3" fmla="*/ 7122194 h 8912999"/>
              <a:gd name="connsiteX4" fmla="*/ 16529235 w 16529235"/>
              <a:gd name="connsiteY4" fmla="*/ 8912999 h 8912999"/>
              <a:gd name="connsiteX5" fmla="*/ 0 w 16529235"/>
              <a:gd name="connsiteY5" fmla="*/ 8906649 h 8912999"/>
              <a:gd name="connsiteX6" fmla="*/ 1841087 w 16529235"/>
              <a:gd name="connsiteY6" fmla="*/ 5832613 h 8912999"/>
              <a:gd name="connsiteX7" fmla="*/ 5152612 w 16529235"/>
              <a:gd name="connsiteY7" fmla="*/ 2448063 h 8912999"/>
              <a:gd name="connsiteX8" fmla="*/ 7378287 w 16529235"/>
              <a:gd name="connsiteY8" fmla="*/ 1092338 h 8912999"/>
              <a:gd name="connsiteX9" fmla="*/ 9238837 w 16529235"/>
              <a:gd name="connsiteY9" fmla="*/ 358913 h 8912999"/>
              <a:gd name="connsiteX10" fmla="*/ 10901984 w 16529235"/>
              <a:gd name="connsiteY10" fmla="*/ 0 h 8912999"/>
              <a:gd name="connsiteX0" fmla="*/ 10380483 w 16007734"/>
              <a:gd name="connsiteY0" fmla="*/ 0 h 8912999"/>
              <a:gd name="connsiteX1" fmla="*/ 14109974 w 16007734"/>
              <a:gd name="connsiteY1" fmla="*/ 5713304 h 8912999"/>
              <a:gd name="connsiteX2" fmla="*/ 13895975 w 16007734"/>
              <a:gd name="connsiteY2" fmla="*/ 6831837 h 8912999"/>
              <a:gd name="connsiteX3" fmla="*/ 13993068 w 16007734"/>
              <a:gd name="connsiteY3" fmla="*/ 7122194 h 8912999"/>
              <a:gd name="connsiteX4" fmla="*/ 16007734 w 16007734"/>
              <a:gd name="connsiteY4" fmla="*/ 8912999 h 8912999"/>
              <a:gd name="connsiteX5" fmla="*/ 0 w 16007734"/>
              <a:gd name="connsiteY5" fmla="*/ 8910541 h 8912999"/>
              <a:gd name="connsiteX6" fmla="*/ 1319586 w 16007734"/>
              <a:gd name="connsiteY6" fmla="*/ 5832613 h 8912999"/>
              <a:gd name="connsiteX7" fmla="*/ 4631111 w 16007734"/>
              <a:gd name="connsiteY7" fmla="*/ 2448063 h 8912999"/>
              <a:gd name="connsiteX8" fmla="*/ 6856786 w 16007734"/>
              <a:gd name="connsiteY8" fmla="*/ 1092338 h 8912999"/>
              <a:gd name="connsiteX9" fmla="*/ 8717336 w 16007734"/>
              <a:gd name="connsiteY9" fmla="*/ 358913 h 8912999"/>
              <a:gd name="connsiteX10" fmla="*/ 10380483 w 16007734"/>
              <a:gd name="connsiteY10" fmla="*/ 0 h 8912999"/>
              <a:gd name="connsiteX0" fmla="*/ 10380483 w 16007734"/>
              <a:gd name="connsiteY0" fmla="*/ 0 h 8912999"/>
              <a:gd name="connsiteX1" fmla="*/ 14109974 w 16007734"/>
              <a:gd name="connsiteY1" fmla="*/ 5713304 h 8912999"/>
              <a:gd name="connsiteX2" fmla="*/ 13895975 w 16007734"/>
              <a:gd name="connsiteY2" fmla="*/ 6831837 h 8912999"/>
              <a:gd name="connsiteX3" fmla="*/ 13993068 w 16007734"/>
              <a:gd name="connsiteY3" fmla="*/ 7122194 h 8912999"/>
              <a:gd name="connsiteX4" fmla="*/ 16007734 w 16007734"/>
              <a:gd name="connsiteY4" fmla="*/ 8912999 h 8912999"/>
              <a:gd name="connsiteX5" fmla="*/ 0 w 16007734"/>
              <a:gd name="connsiteY5" fmla="*/ 8910541 h 8912999"/>
              <a:gd name="connsiteX6" fmla="*/ 2335345 w 16007734"/>
              <a:gd name="connsiteY6" fmla="*/ 4964743 h 8912999"/>
              <a:gd name="connsiteX7" fmla="*/ 4631111 w 16007734"/>
              <a:gd name="connsiteY7" fmla="*/ 2448063 h 8912999"/>
              <a:gd name="connsiteX8" fmla="*/ 6856786 w 16007734"/>
              <a:gd name="connsiteY8" fmla="*/ 1092338 h 8912999"/>
              <a:gd name="connsiteX9" fmla="*/ 8717336 w 16007734"/>
              <a:gd name="connsiteY9" fmla="*/ 358913 h 8912999"/>
              <a:gd name="connsiteX10" fmla="*/ 10380483 w 16007734"/>
              <a:gd name="connsiteY10" fmla="*/ 0 h 8912999"/>
              <a:gd name="connsiteX0" fmla="*/ 10380483 w 16007734"/>
              <a:gd name="connsiteY0" fmla="*/ 0 h 8912999"/>
              <a:gd name="connsiteX1" fmla="*/ 14109974 w 16007734"/>
              <a:gd name="connsiteY1" fmla="*/ 5713304 h 8912999"/>
              <a:gd name="connsiteX2" fmla="*/ 13895975 w 16007734"/>
              <a:gd name="connsiteY2" fmla="*/ 6831837 h 8912999"/>
              <a:gd name="connsiteX3" fmla="*/ 13993068 w 16007734"/>
              <a:gd name="connsiteY3" fmla="*/ 7122194 h 8912999"/>
              <a:gd name="connsiteX4" fmla="*/ 16007734 w 16007734"/>
              <a:gd name="connsiteY4" fmla="*/ 8912999 h 8912999"/>
              <a:gd name="connsiteX5" fmla="*/ 0 w 16007734"/>
              <a:gd name="connsiteY5" fmla="*/ 8910541 h 8912999"/>
              <a:gd name="connsiteX6" fmla="*/ 2335345 w 16007734"/>
              <a:gd name="connsiteY6" fmla="*/ 4964743 h 8912999"/>
              <a:gd name="connsiteX7" fmla="*/ 4631111 w 16007734"/>
              <a:gd name="connsiteY7" fmla="*/ 2448063 h 8912999"/>
              <a:gd name="connsiteX8" fmla="*/ 6856786 w 16007734"/>
              <a:gd name="connsiteY8" fmla="*/ 1092338 h 8912999"/>
              <a:gd name="connsiteX9" fmla="*/ 8717336 w 16007734"/>
              <a:gd name="connsiteY9" fmla="*/ 358913 h 8912999"/>
              <a:gd name="connsiteX10" fmla="*/ 10380483 w 16007734"/>
              <a:gd name="connsiteY10" fmla="*/ 0 h 8912999"/>
              <a:gd name="connsiteX0" fmla="*/ 10380483 w 16007734"/>
              <a:gd name="connsiteY0" fmla="*/ 0 h 8912999"/>
              <a:gd name="connsiteX1" fmla="*/ 14109974 w 16007734"/>
              <a:gd name="connsiteY1" fmla="*/ 5713304 h 8912999"/>
              <a:gd name="connsiteX2" fmla="*/ 13895975 w 16007734"/>
              <a:gd name="connsiteY2" fmla="*/ 6831837 h 8912999"/>
              <a:gd name="connsiteX3" fmla="*/ 13993068 w 16007734"/>
              <a:gd name="connsiteY3" fmla="*/ 7122194 h 8912999"/>
              <a:gd name="connsiteX4" fmla="*/ 16007734 w 16007734"/>
              <a:gd name="connsiteY4" fmla="*/ 8912999 h 8912999"/>
              <a:gd name="connsiteX5" fmla="*/ 0 w 16007734"/>
              <a:gd name="connsiteY5" fmla="*/ 8910541 h 8912999"/>
              <a:gd name="connsiteX6" fmla="*/ 2335345 w 16007734"/>
              <a:gd name="connsiteY6" fmla="*/ 4964743 h 8912999"/>
              <a:gd name="connsiteX7" fmla="*/ 4631111 w 16007734"/>
              <a:gd name="connsiteY7" fmla="*/ 2448063 h 8912999"/>
              <a:gd name="connsiteX8" fmla="*/ 6856786 w 16007734"/>
              <a:gd name="connsiteY8" fmla="*/ 1092338 h 8912999"/>
              <a:gd name="connsiteX9" fmla="*/ 8717336 w 16007734"/>
              <a:gd name="connsiteY9" fmla="*/ 358913 h 8912999"/>
              <a:gd name="connsiteX10" fmla="*/ 10380483 w 16007734"/>
              <a:gd name="connsiteY10" fmla="*/ 0 h 8912999"/>
              <a:gd name="connsiteX0" fmla="*/ 10380483 w 16007734"/>
              <a:gd name="connsiteY0" fmla="*/ 0 h 8912999"/>
              <a:gd name="connsiteX1" fmla="*/ 14109974 w 16007734"/>
              <a:gd name="connsiteY1" fmla="*/ 5713304 h 8912999"/>
              <a:gd name="connsiteX2" fmla="*/ 13895975 w 16007734"/>
              <a:gd name="connsiteY2" fmla="*/ 6831837 h 8912999"/>
              <a:gd name="connsiteX3" fmla="*/ 13993068 w 16007734"/>
              <a:gd name="connsiteY3" fmla="*/ 7122194 h 8912999"/>
              <a:gd name="connsiteX4" fmla="*/ 16007734 w 16007734"/>
              <a:gd name="connsiteY4" fmla="*/ 8912999 h 8912999"/>
              <a:gd name="connsiteX5" fmla="*/ 0 w 16007734"/>
              <a:gd name="connsiteY5" fmla="*/ 8910541 h 8912999"/>
              <a:gd name="connsiteX6" fmla="*/ 2350913 w 16007734"/>
              <a:gd name="connsiteY6" fmla="*/ 4956959 h 8912999"/>
              <a:gd name="connsiteX7" fmla="*/ 4631111 w 16007734"/>
              <a:gd name="connsiteY7" fmla="*/ 2448063 h 8912999"/>
              <a:gd name="connsiteX8" fmla="*/ 6856786 w 16007734"/>
              <a:gd name="connsiteY8" fmla="*/ 1092338 h 8912999"/>
              <a:gd name="connsiteX9" fmla="*/ 8717336 w 16007734"/>
              <a:gd name="connsiteY9" fmla="*/ 358913 h 8912999"/>
              <a:gd name="connsiteX10" fmla="*/ 10380483 w 16007734"/>
              <a:gd name="connsiteY10" fmla="*/ 0 h 8912999"/>
              <a:gd name="connsiteX0" fmla="*/ 10380483 w 16007734"/>
              <a:gd name="connsiteY0" fmla="*/ 0 h 8912999"/>
              <a:gd name="connsiteX1" fmla="*/ 14109974 w 16007734"/>
              <a:gd name="connsiteY1" fmla="*/ 5713304 h 8912999"/>
              <a:gd name="connsiteX2" fmla="*/ 13895975 w 16007734"/>
              <a:gd name="connsiteY2" fmla="*/ 6831837 h 8912999"/>
              <a:gd name="connsiteX3" fmla="*/ 13993068 w 16007734"/>
              <a:gd name="connsiteY3" fmla="*/ 7122194 h 8912999"/>
              <a:gd name="connsiteX4" fmla="*/ 16007734 w 16007734"/>
              <a:gd name="connsiteY4" fmla="*/ 8912999 h 8912999"/>
              <a:gd name="connsiteX5" fmla="*/ 0 w 16007734"/>
              <a:gd name="connsiteY5" fmla="*/ 8910541 h 8912999"/>
              <a:gd name="connsiteX6" fmla="*/ 2350913 w 16007734"/>
              <a:gd name="connsiteY6" fmla="*/ 4956959 h 8912999"/>
              <a:gd name="connsiteX7" fmla="*/ 5467848 w 16007734"/>
              <a:gd name="connsiteY7" fmla="*/ 1992722 h 8912999"/>
              <a:gd name="connsiteX8" fmla="*/ 6856786 w 16007734"/>
              <a:gd name="connsiteY8" fmla="*/ 1092338 h 8912999"/>
              <a:gd name="connsiteX9" fmla="*/ 8717336 w 16007734"/>
              <a:gd name="connsiteY9" fmla="*/ 358913 h 8912999"/>
              <a:gd name="connsiteX10" fmla="*/ 10380483 w 16007734"/>
              <a:gd name="connsiteY10" fmla="*/ 0 h 8912999"/>
              <a:gd name="connsiteX0" fmla="*/ 10380483 w 16007734"/>
              <a:gd name="connsiteY0" fmla="*/ 0 h 8912999"/>
              <a:gd name="connsiteX1" fmla="*/ 14109974 w 16007734"/>
              <a:gd name="connsiteY1" fmla="*/ 5713304 h 8912999"/>
              <a:gd name="connsiteX2" fmla="*/ 13895975 w 16007734"/>
              <a:gd name="connsiteY2" fmla="*/ 6831837 h 8912999"/>
              <a:gd name="connsiteX3" fmla="*/ 13993068 w 16007734"/>
              <a:gd name="connsiteY3" fmla="*/ 7122194 h 8912999"/>
              <a:gd name="connsiteX4" fmla="*/ 16007734 w 16007734"/>
              <a:gd name="connsiteY4" fmla="*/ 8912999 h 8912999"/>
              <a:gd name="connsiteX5" fmla="*/ 0 w 16007734"/>
              <a:gd name="connsiteY5" fmla="*/ 8910541 h 8912999"/>
              <a:gd name="connsiteX6" fmla="*/ 2350913 w 16007734"/>
              <a:gd name="connsiteY6" fmla="*/ 4956959 h 8912999"/>
              <a:gd name="connsiteX7" fmla="*/ 5467848 w 16007734"/>
              <a:gd name="connsiteY7" fmla="*/ 1992722 h 8912999"/>
              <a:gd name="connsiteX8" fmla="*/ 6856786 w 16007734"/>
              <a:gd name="connsiteY8" fmla="*/ 1092338 h 8912999"/>
              <a:gd name="connsiteX9" fmla="*/ 8717336 w 16007734"/>
              <a:gd name="connsiteY9" fmla="*/ 358913 h 8912999"/>
              <a:gd name="connsiteX10" fmla="*/ 10380483 w 16007734"/>
              <a:gd name="connsiteY10" fmla="*/ 0 h 8912999"/>
              <a:gd name="connsiteX0" fmla="*/ 10380483 w 16007734"/>
              <a:gd name="connsiteY0" fmla="*/ 0 h 8912999"/>
              <a:gd name="connsiteX1" fmla="*/ 14109974 w 16007734"/>
              <a:gd name="connsiteY1" fmla="*/ 5713304 h 8912999"/>
              <a:gd name="connsiteX2" fmla="*/ 13895975 w 16007734"/>
              <a:gd name="connsiteY2" fmla="*/ 6831837 h 8912999"/>
              <a:gd name="connsiteX3" fmla="*/ 13993068 w 16007734"/>
              <a:gd name="connsiteY3" fmla="*/ 7122194 h 8912999"/>
              <a:gd name="connsiteX4" fmla="*/ 16007734 w 16007734"/>
              <a:gd name="connsiteY4" fmla="*/ 8912999 h 8912999"/>
              <a:gd name="connsiteX5" fmla="*/ 0 w 16007734"/>
              <a:gd name="connsiteY5" fmla="*/ 8910541 h 8912999"/>
              <a:gd name="connsiteX6" fmla="*/ 2350913 w 16007734"/>
              <a:gd name="connsiteY6" fmla="*/ 4956959 h 8912999"/>
              <a:gd name="connsiteX7" fmla="*/ 5467848 w 16007734"/>
              <a:gd name="connsiteY7" fmla="*/ 1992722 h 8912999"/>
              <a:gd name="connsiteX8" fmla="*/ 6856786 w 16007734"/>
              <a:gd name="connsiteY8" fmla="*/ 1092338 h 8912999"/>
              <a:gd name="connsiteX9" fmla="*/ 8717336 w 16007734"/>
              <a:gd name="connsiteY9" fmla="*/ 358913 h 8912999"/>
              <a:gd name="connsiteX10" fmla="*/ 10380483 w 16007734"/>
              <a:gd name="connsiteY10" fmla="*/ 0 h 8912999"/>
              <a:gd name="connsiteX0" fmla="*/ 10380483 w 16007734"/>
              <a:gd name="connsiteY0" fmla="*/ 0 h 8912999"/>
              <a:gd name="connsiteX1" fmla="*/ 14109974 w 16007734"/>
              <a:gd name="connsiteY1" fmla="*/ 5713304 h 8912999"/>
              <a:gd name="connsiteX2" fmla="*/ 13895975 w 16007734"/>
              <a:gd name="connsiteY2" fmla="*/ 6831837 h 8912999"/>
              <a:gd name="connsiteX3" fmla="*/ 13993068 w 16007734"/>
              <a:gd name="connsiteY3" fmla="*/ 7122194 h 8912999"/>
              <a:gd name="connsiteX4" fmla="*/ 16007734 w 16007734"/>
              <a:gd name="connsiteY4" fmla="*/ 8912999 h 8912999"/>
              <a:gd name="connsiteX5" fmla="*/ 0 w 16007734"/>
              <a:gd name="connsiteY5" fmla="*/ 8910541 h 8912999"/>
              <a:gd name="connsiteX6" fmla="*/ 2350913 w 16007734"/>
              <a:gd name="connsiteY6" fmla="*/ 4956959 h 8912999"/>
              <a:gd name="connsiteX7" fmla="*/ 5467848 w 16007734"/>
              <a:gd name="connsiteY7" fmla="*/ 1992722 h 8912999"/>
              <a:gd name="connsiteX8" fmla="*/ 6856786 w 16007734"/>
              <a:gd name="connsiteY8" fmla="*/ 1092338 h 8912999"/>
              <a:gd name="connsiteX9" fmla="*/ 8717336 w 16007734"/>
              <a:gd name="connsiteY9" fmla="*/ 358913 h 8912999"/>
              <a:gd name="connsiteX10" fmla="*/ 10380483 w 16007734"/>
              <a:gd name="connsiteY10" fmla="*/ 0 h 8912999"/>
              <a:gd name="connsiteX0" fmla="*/ 10380483 w 16007734"/>
              <a:gd name="connsiteY0" fmla="*/ 0 h 8912999"/>
              <a:gd name="connsiteX1" fmla="*/ 14109974 w 16007734"/>
              <a:gd name="connsiteY1" fmla="*/ 5713304 h 8912999"/>
              <a:gd name="connsiteX2" fmla="*/ 13895975 w 16007734"/>
              <a:gd name="connsiteY2" fmla="*/ 6831837 h 8912999"/>
              <a:gd name="connsiteX3" fmla="*/ 13993068 w 16007734"/>
              <a:gd name="connsiteY3" fmla="*/ 7122194 h 8912999"/>
              <a:gd name="connsiteX4" fmla="*/ 16007734 w 16007734"/>
              <a:gd name="connsiteY4" fmla="*/ 8912999 h 8912999"/>
              <a:gd name="connsiteX5" fmla="*/ 0 w 16007734"/>
              <a:gd name="connsiteY5" fmla="*/ 8910541 h 8912999"/>
              <a:gd name="connsiteX6" fmla="*/ 2350913 w 16007734"/>
              <a:gd name="connsiteY6" fmla="*/ 4956959 h 8912999"/>
              <a:gd name="connsiteX7" fmla="*/ 5491200 w 16007734"/>
              <a:gd name="connsiteY7" fmla="*/ 1969372 h 8912999"/>
              <a:gd name="connsiteX8" fmla="*/ 6856786 w 16007734"/>
              <a:gd name="connsiteY8" fmla="*/ 1092338 h 8912999"/>
              <a:gd name="connsiteX9" fmla="*/ 8717336 w 16007734"/>
              <a:gd name="connsiteY9" fmla="*/ 358913 h 8912999"/>
              <a:gd name="connsiteX10" fmla="*/ 10380483 w 16007734"/>
              <a:gd name="connsiteY10" fmla="*/ 0 h 8912999"/>
              <a:gd name="connsiteX0" fmla="*/ 10380483 w 16007734"/>
              <a:gd name="connsiteY0" fmla="*/ 0 h 8912999"/>
              <a:gd name="connsiteX1" fmla="*/ 14109974 w 16007734"/>
              <a:gd name="connsiteY1" fmla="*/ 5713304 h 8912999"/>
              <a:gd name="connsiteX2" fmla="*/ 13895975 w 16007734"/>
              <a:gd name="connsiteY2" fmla="*/ 6831837 h 8912999"/>
              <a:gd name="connsiteX3" fmla="*/ 13993068 w 16007734"/>
              <a:gd name="connsiteY3" fmla="*/ 7122194 h 8912999"/>
              <a:gd name="connsiteX4" fmla="*/ 16007734 w 16007734"/>
              <a:gd name="connsiteY4" fmla="*/ 8912999 h 8912999"/>
              <a:gd name="connsiteX5" fmla="*/ 0 w 16007734"/>
              <a:gd name="connsiteY5" fmla="*/ 8910541 h 8912999"/>
              <a:gd name="connsiteX6" fmla="*/ 2350913 w 16007734"/>
              <a:gd name="connsiteY6" fmla="*/ 4956959 h 8912999"/>
              <a:gd name="connsiteX7" fmla="*/ 5491200 w 16007734"/>
              <a:gd name="connsiteY7" fmla="*/ 1969372 h 8912999"/>
              <a:gd name="connsiteX8" fmla="*/ 7078618 w 16007734"/>
              <a:gd name="connsiteY8" fmla="*/ 1037853 h 8912999"/>
              <a:gd name="connsiteX9" fmla="*/ 8717336 w 16007734"/>
              <a:gd name="connsiteY9" fmla="*/ 358913 h 8912999"/>
              <a:gd name="connsiteX10" fmla="*/ 10380483 w 16007734"/>
              <a:gd name="connsiteY10" fmla="*/ 0 h 8912999"/>
              <a:gd name="connsiteX0" fmla="*/ 10380483 w 16007734"/>
              <a:gd name="connsiteY0" fmla="*/ 0 h 8912999"/>
              <a:gd name="connsiteX1" fmla="*/ 14109974 w 16007734"/>
              <a:gd name="connsiteY1" fmla="*/ 5713304 h 8912999"/>
              <a:gd name="connsiteX2" fmla="*/ 13895975 w 16007734"/>
              <a:gd name="connsiteY2" fmla="*/ 6831837 h 8912999"/>
              <a:gd name="connsiteX3" fmla="*/ 13993068 w 16007734"/>
              <a:gd name="connsiteY3" fmla="*/ 7122194 h 8912999"/>
              <a:gd name="connsiteX4" fmla="*/ 16007734 w 16007734"/>
              <a:gd name="connsiteY4" fmla="*/ 8912999 h 8912999"/>
              <a:gd name="connsiteX5" fmla="*/ 0 w 16007734"/>
              <a:gd name="connsiteY5" fmla="*/ 8910541 h 8912999"/>
              <a:gd name="connsiteX6" fmla="*/ 2350913 w 16007734"/>
              <a:gd name="connsiteY6" fmla="*/ 4956959 h 8912999"/>
              <a:gd name="connsiteX7" fmla="*/ 5491200 w 16007734"/>
              <a:gd name="connsiteY7" fmla="*/ 1969372 h 8912999"/>
              <a:gd name="connsiteX8" fmla="*/ 7078618 w 16007734"/>
              <a:gd name="connsiteY8" fmla="*/ 1037853 h 8912999"/>
              <a:gd name="connsiteX9" fmla="*/ 8760147 w 16007734"/>
              <a:gd name="connsiteY9" fmla="*/ 358913 h 8912999"/>
              <a:gd name="connsiteX10" fmla="*/ 10380483 w 16007734"/>
              <a:gd name="connsiteY10" fmla="*/ 0 h 8912999"/>
              <a:gd name="connsiteX0" fmla="*/ 10380483 w 16007734"/>
              <a:gd name="connsiteY0" fmla="*/ 0 h 8912999"/>
              <a:gd name="connsiteX1" fmla="*/ 14109974 w 16007734"/>
              <a:gd name="connsiteY1" fmla="*/ 5713304 h 8912999"/>
              <a:gd name="connsiteX2" fmla="*/ 13895975 w 16007734"/>
              <a:gd name="connsiteY2" fmla="*/ 6831837 h 8912999"/>
              <a:gd name="connsiteX3" fmla="*/ 13993068 w 16007734"/>
              <a:gd name="connsiteY3" fmla="*/ 7122194 h 8912999"/>
              <a:gd name="connsiteX4" fmla="*/ 16007734 w 16007734"/>
              <a:gd name="connsiteY4" fmla="*/ 8912999 h 8912999"/>
              <a:gd name="connsiteX5" fmla="*/ 0 w 16007734"/>
              <a:gd name="connsiteY5" fmla="*/ 8910541 h 8912999"/>
              <a:gd name="connsiteX6" fmla="*/ 2350913 w 16007734"/>
              <a:gd name="connsiteY6" fmla="*/ 4956959 h 8912999"/>
              <a:gd name="connsiteX7" fmla="*/ 5491200 w 16007734"/>
              <a:gd name="connsiteY7" fmla="*/ 1969372 h 8912999"/>
              <a:gd name="connsiteX8" fmla="*/ 7078618 w 16007734"/>
              <a:gd name="connsiteY8" fmla="*/ 1037853 h 8912999"/>
              <a:gd name="connsiteX9" fmla="*/ 8760147 w 16007734"/>
              <a:gd name="connsiteY9" fmla="*/ 358913 h 8912999"/>
              <a:gd name="connsiteX10" fmla="*/ 10380483 w 16007734"/>
              <a:gd name="connsiteY10" fmla="*/ 0 h 8912999"/>
              <a:gd name="connsiteX0" fmla="*/ 10380483 w 16007734"/>
              <a:gd name="connsiteY0" fmla="*/ 0 h 8912999"/>
              <a:gd name="connsiteX1" fmla="*/ 14109974 w 16007734"/>
              <a:gd name="connsiteY1" fmla="*/ 5713304 h 8912999"/>
              <a:gd name="connsiteX2" fmla="*/ 13895975 w 16007734"/>
              <a:gd name="connsiteY2" fmla="*/ 6831837 h 8912999"/>
              <a:gd name="connsiteX3" fmla="*/ 13993068 w 16007734"/>
              <a:gd name="connsiteY3" fmla="*/ 7122194 h 8912999"/>
              <a:gd name="connsiteX4" fmla="*/ 16007734 w 16007734"/>
              <a:gd name="connsiteY4" fmla="*/ 8912999 h 8912999"/>
              <a:gd name="connsiteX5" fmla="*/ 0 w 16007734"/>
              <a:gd name="connsiteY5" fmla="*/ 8910541 h 8912999"/>
              <a:gd name="connsiteX6" fmla="*/ 2350913 w 16007734"/>
              <a:gd name="connsiteY6" fmla="*/ 4956959 h 8912999"/>
              <a:gd name="connsiteX7" fmla="*/ 5491200 w 16007734"/>
              <a:gd name="connsiteY7" fmla="*/ 1969372 h 8912999"/>
              <a:gd name="connsiteX8" fmla="*/ 7078618 w 16007734"/>
              <a:gd name="connsiteY8" fmla="*/ 1037853 h 8912999"/>
              <a:gd name="connsiteX9" fmla="*/ 8760147 w 16007734"/>
              <a:gd name="connsiteY9" fmla="*/ 358913 h 8912999"/>
              <a:gd name="connsiteX10" fmla="*/ 10380483 w 16007734"/>
              <a:gd name="connsiteY10" fmla="*/ 0 h 8912999"/>
              <a:gd name="connsiteX0" fmla="*/ 10380483 w 16007734"/>
              <a:gd name="connsiteY0" fmla="*/ 0 h 8912999"/>
              <a:gd name="connsiteX1" fmla="*/ 14109974 w 16007734"/>
              <a:gd name="connsiteY1" fmla="*/ 5713304 h 8912999"/>
              <a:gd name="connsiteX2" fmla="*/ 13895975 w 16007734"/>
              <a:gd name="connsiteY2" fmla="*/ 6831837 h 8912999"/>
              <a:gd name="connsiteX3" fmla="*/ 13993068 w 16007734"/>
              <a:gd name="connsiteY3" fmla="*/ 7122194 h 8912999"/>
              <a:gd name="connsiteX4" fmla="*/ 16007734 w 16007734"/>
              <a:gd name="connsiteY4" fmla="*/ 8912999 h 8912999"/>
              <a:gd name="connsiteX5" fmla="*/ 0 w 16007734"/>
              <a:gd name="connsiteY5" fmla="*/ 8910541 h 8912999"/>
              <a:gd name="connsiteX6" fmla="*/ 2350913 w 16007734"/>
              <a:gd name="connsiteY6" fmla="*/ 4956959 h 8912999"/>
              <a:gd name="connsiteX7" fmla="*/ 5491200 w 16007734"/>
              <a:gd name="connsiteY7" fmla="*/ 1969372 h 8912999"/>
              <a:gd name="connsiteX8" fmla="*/ 7078618 w 16007734"/>
              <a:gd name="connsiteY8" fmla="*/ 1037853 h 8912999"/>
              <a:gd name="connsiteX9" fmla="*/ 8760147 w 16007734"/>
              <a:gd name="connsiteY9" fmla="*/ 358913 h 8912999"/>
              <a:gd name="connsiteX10" fmla="*/ 10380483 w 16007734"/>
              <a:gd name="connsiteY10" fmla="*/ 0 h 8912999"/>
              <a:gd name="connsiteX0" fmla="*/ 10380483 w 16007734"/>
              <a:gd name="connsiteY0" fmla="*/ 0 h 8912999"/>
              <a:gd name="connsiteX1" fmla="*/ 14109974 w 16007734"/>
              <a:gd name="connsiteY1" fmla="*/ 5713304 h 8912999"/>
              <a:gd name="connsiteX2" fmla="*/ 13895975 w 16007734"/>
              <a:gd name="connsiteY2" fmla="*/ 6831837 h 8912999"/>
              <a:gd name="connsiteX3" fmla="*/ 13993068 w 16007734"/>
              <a:gd name="connsiteY3" fmla="*/ 7122194 h 8912999"/>
              <a:gd name="connsiteX4" fmla="*/ 16007734 w 16007734"/>
              <a:gd name="connsiteY4" fmla="*/ 8912999 h 8912999"/>
              <a:gd name="connsiteX5" fmla="*/ 0 w 16007734"/>
              <a:gd name="connsiteY5" fmla="*/ 8910541 h 8912999"/>
              <a:gd name="connsiteX6" fmla="*/ 2350913 w 16007734"/>
              <a:gd name="connsiteY6" fmla="*/ 4956959 h 8912999"/>
              <a:gd name="connsiteX7" fmla="*/ 5491200 w 16007734"/>
              <a:gd name="connsiteY7" fmla="*/ 1969372 h 8912999"/>
              <a:gd name="connsiteX8" fmla="*/ 7078618 w 16007734"/>
              <a:gd name="connsiteY8" fmla="*/ 1037853 h 8912999"/>
              <a:gd name="connsiteX9" fmla="*/ 8760147 w 16007734"/>
              <a:gd name="connsiteY9" fmla="*/ 358913 h 8912999"/>
              <a:gd name="connsiteX10" fmla="*/ 10380483 w 16007734"/>
              <a:gd name="connsiteY10" fmla="*/ 0 h 8912999"/>
              <a:gd name="connsiteX0" fmla="*/ 10380483 w 16007734"/>
              <a:gd name="connsiteY0" fmla="*/ 0 h 8912999"/>
              <a:gd name="connsiteX1" fmla="*/ 14109974 w 16007734"/>
              <a:gd name="connsiteY1" fmla="*/ 5713304 h 8912999"/>
              <a:gd name="connsiteX2" fmla="*/ 13895975 w 16007734"/>
              <a:gd name="connsiteY2" fmla="*/ 6831837 h 8912999"/>
              <a:gd name="connsiteX3" fmla="*/ 13993068 w 16007734"/>
              <a:gd name="connsiteY3" fmla="*/ 7122194 h 8912999"/>
              <a:gd name="connsiteX4" fmla="*/ 16007734 w 16007734"/>
              <a:gd name="connsiteY4" fmla="*/ 8912999 h 8912999"/>
              <a:gd name="connsiteX5" fmla="*/ 0 w 16007734"/>
              <a:gd name="connsiteY5" fmla="*/ 8910541 h 8912999"/>
              <a:gd name="connsiteX6" fmla="*/ 2350913 w 16007734"/>
              <a:gd name="connsiteY6" fmla="*/ 4956959 h 8912999"/>
              <a:gd name="connsiteX7" fmla="*/ 5491200 w 16007734"/>
              <a:gd name="connsiteY7" fmla="*/ 1969372 h 8912999"/>
              <a:gd name="connsiteX8" fmla="*/ 7078618 w 16007734"/>
              <a:gd name="connsiteY8" fmla="*/ 1037853 h 8912999"/>
              <a:gd name="connsiteX9" fmla="*/ 8760147 w 16007734"/>
              <a:gd name="connsiteY9" fmla="*/ 358913 h 8912999"/>
              <a:gd name="connsiteX10" fmla="*/ 10380483 w 16007734"/>
              <a:gd name="connsiteY10" fmla="*/ 0 h 8912999"/>
              <a:gd name="connsiteX0" fmla="*/ 10380483 w 16007734"/>
              <a:gd name="connsiteY0" fmla="*/ 0 h 8912999"/>
              <a:gd name="connsiteX1" fmla="*/ 14109974 w 16007734"/>
              <a:gd name="connsiteY1" fmla="*/ 5713304 h 8912999"/>
              <a:gd name="connsiteX2" fmla="*/ 13895975 w 16007734"/>
              <a:gd name="connsiteY2" fmla="*/ 6831837 h 8912999"/>
              <a:gd name="connsiteX3" fmla="*/ 13993068 w 16007734"/>
              <a:gd name="connsiteY3" fmla="*/ 7122194 h 8912999"/>
              <a:gd name="connsiteX4" fmla="*/ 16007734 w 16007734"/>
              <a:gd name="connsiteY4" fmla="*/ 8912999 h 8912999"/>
              <a:gd name="connsiteX5" fmla="*/ 0 w 16007734"/>
              <a:gd name="connsiteY5" fmla="*/ 8910541 h 8912999"/>
              <a:gd name="connsiteX6" fmla="*/ 2350913 w 16007734"/>
              <a:gd name="connsiteY6" fmla="*/ 4956959 h 8912999"/>
              <a:gd name="connsiteX7" fmla="*/ 5491200 w 16007734"/>
              <a:gd name="connsiteY7" fmla="*/ 1969372 h 8912999"/>
              <a:gd name="connsiteX8" fmla="*/ 7078618 w 16007734"/>
              <a:gd name="connsiteY8" fmla="*/ 1037853 h 8912999"/>
              <a:gd name="connsiteX9" fmla="*/ 8760147 w 16007734"/>
              <a:gd name="connsiteY9" fmla="*/ 358913 h 8912999"/>
              <a:gd name="connsiteX10" fmla="*/ 10380483 w 16007734"/>
              <a:gd name="connsiteY10" fmla="*/ 0 h 8912999"/>
              <a:gd name="connsiteX0" fmla="*/ 10380483 w 16007734"/>
              <a:gd name="connsiteY0" fmla="*/ 0 h 8912999"/>
              <a:gd name="connsiteX1" fmla="*/ 14109974 w 16007734"/>
              <a:gd name="connsiteY1" fmla="*/ 5713304 h 8912999"/>
              <a:gd name="connsiteX2" fmla="*/ 13895975 w 16007734"/>
              <a:gd name="connsiteY2" fmla="*/ 6831837 h 8912999"/>
              <a:gd name="connsiteX3" fmla="*/ 13993068 w 16007734"/>
              <a:gd name="connsiteY3" fmla="*/ 7122194 h 8912999"/>
              <a:gd name="connsiteX4" fmla="*/ 16007734 w 16007734"/>
              <a:gd name="connsiteY4" fmla="*/ 8912999 h 8912999"/>
              <a:gd name="connsiteX5" fmla="*/ 0 w 16007734"/>
              <a:gd name="connsiteY5" fmla="*/ 8910541 h 8912999"/>
              <a:gd name="connsiteX6" fmla="*/ 2350913 w 16007734"/>
              <a:gd name="connsiteY6" fmla="*/ 4956959 h 8912999"/>
              <a:gd name="connsiteX7" fmla="*/ 5491200 w 16007734"/>
              <a:gd name="connsiteY7" fmla="*/ 1969372 h 8912999"/>
              <a:gd name="connsiteX8" fmla="*/ 7168130 w 16007734"/>
              <a:gd name="connsiteY8" fmla="*/ 995043 h 8912999"/>
              <a:gd name="connsiteX9" fmla="*/ 8760147 w 16007734"/>
              <a:gd name="connsiteY9" fmla="*/ 358913 h 8912999"/>
              <a:gd name="connsiteX10" fmla="*/ 10380483 w 16007734"/>
              <a:gd name="connsiteY10" fmla="*/ 0 h 8912999"/>
              <a:gd name="connsiteX0" fmla="*/ 10380483 w 16007734"/>
              <a:gd name="connsiteY0" fmla="*/ 0 h 8912999"/>
              <a:gd name="connsiteX1" fmla="*/ 14109974 w 16007734"/>
              <a:gd name="connsiteY1" fmla="*/ 5713304 h 8912999"/>
              <a:gd name="connsiteX2" fmla="*/ 13895975 w 16007734"/>
              <a:gd name="connsiteY2" fmla="*/ 6831837 h 8912999"/>
              <a:gd name="connsiteX3" fmla="*/ 13993068 w 16007734"/>
              <a:gd name="connsiteY3" fmla="*/ 7122194 h 8912999"/>
              <a:gd name="connsiteX4" fmla="*/ 16007734 w 16007734"/>
              <a:gd name="connsiteY4" fmla="*/ 8912999 h 8912999"/>
              <a:gd name="connsiteX5" fmla="*/ 0 w 16007734"/>
              <a:gd name="connsiteY5" fmla="*/ 8910541 h 8912999"/>
              <a:gd name="connsiteX6" fmla="*/ 2350913 w 16007734"/>
              <a:gd name="connsiteY6" fmla="*/ 4956959 h 8912999"/>
              <a:gd name="connsiteX7" fmla="*/ 5491200 w 16007734"/>
              <a:gd name="connsiteY7" fmla="*/ 1969372 h 8912999"/>
              <a:gd name="connsiteX8" fmla="*/ 7168130 w 16007734"/>
              <a:gd name="connsiteY8" fmla="*/ 995043 h 8912999"/>
              <a:gd name="connsiteX9" fmla="*/ 8760147 w 16007734"/>
              <a:gd name="connsiteY9" fmla="*/ 358913 h 8912999"/>
              <a:gd name="connsiteX10" fmla="*/ 10380483 w 16007734"/>
              <a:gd name="connsiteY10" fmla="*/ 0 h 8912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6007734" h="8912999">
                <a:moveTo>
                  <a:pt x="10380483" y="0"/>
                </a:moveTo>
                <a:lnTo>
                  <a:pt x="14109974" y="5713304"/>
                </a:lnTo>
                <a:lnTo>
                  <a:pt x="13895975" y="6831837"/>
                </a:lnTo>
                <a:cubicBezTo>
                  <a:pt x="13858933" y="6995879"/>
                  <a:pt x="13912635" y="7043877"/>
                  <a:pt x="13993068" y="7122194"/>
                </a:cubicBezTo>
                <a:lnTo>
                  <a:pt x="16007734" y="8912999"/>
                </a:lnTo>
                <a:lnTo>
                  <a:pt x="0" y="8910541"/>
                </a:lnTo>
                <a:cubicBezTo>
                  <a:pt x="465496" y="7873576"/>
                  <a:pt x="1314027" y="6237477"/>
                  <a:pt x="2350913" y="4956959"/>
                </a:cubicBezTo>
                <a:cubicBezTo>
                  <a:pt x="3383366" y="3642476"/>
                  <a:pt x="4297433" y="2811704"/>
                  <a:pt x="5491200" y="1969372"/>
                </a:cubicBezTo>
                <a:cubicBezTo>
                  <a:pt x="6374121" y="1389747"/>
                  <a:pt x="6463007" y="1339718"/>
                  <a:pt x="7168130" y="995043"/>
                </a:cubicBezTo>
                <a:cubicBezTo>
                  <a:pt x="7863181" y="674368"/>
                  <a:pt x="8089472" y="583006"/>
                  <a:pt x="8760147" y="358913"/>
                </a:cubicBezTo>
                <a:cubicBezTo>
                  <a:pt x="9366763" y="182842"/>
                  <a:pt x="9675750" y="81947"/>
                  <a:pt x="10380483" y="0"/>
                </a:cubicBezTo>
                <a:close/>
              </a:path>
            </a:pathLst>
          </a:custGeom>
        </p:spPr>
        <p:txBody>
          <a:bodyPr anchor="ctr" anchorCtr="1">
            <a:noAutofit/>
          </a:bodyPr>
          <a:lstStyle>
            <a:lvl1pPr>
              <a:defRPr sz="3000" b="1" i="0">
                <a:solidFill>
                  <a:schemeClr val="bg1"/>
                </a:solidFill>
                <a:latin typeface="Avenir Black" panose="02000503020000020003" pitchFamily="2" charset="0"/>
              </a:defRPr>
            </a:lvl1pPr>
          </a:lstStyle>
          <a:p>
            <a:r>
              <a:rPr lang="en-US" dirty="0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13142504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20104100" cy="11308715"/>
          </a:xfrm>
          <a:custGeom>
            <a:avLst/>
            <a:gdLst/>
            <a:ahLst/>
            <a:cxnLst/>
            <a:rect l="l" t="t" r="r" b="b"/>
            <a:pathLst>
              <a:path w="20104100" h="11308715">
                <a:moveTo>
                  <a:pt x="20104099" y="0"/>
                </a:moveTo>
                <a:lnTo>
                  <a:pt x="0" y="0"/>
                </a:lnTo>
                <a:lnTo>
                  <a:pt x="0" y="11308556"/>
                </a:lnTo>
                <a:lnTo>
                  <a:pt x="20104099" y="11308556"/>
                </a:lnTo>
                <a:lnTo>
                  <a:pt x="20104099" y="0"/>
                </a:lnTo>
                <a:close/>
              </a:path>
            </a:pathLst>
          </a:custGeom>
          <a:solidFill>
            <a:srgbClr val="004B87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811449" y="982034"/>
            <a:ext cx="5467350" cy="15798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5750" b="1" i="0">
                <a:solidFill>
                  <a:srgbClr val="004B87"/>
                </a:solidFill>
                <a:latin typeface="Avenir"/>
                <a:cs typeface="Avenir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1005205" y="2601150"/>
            <a:ext cx="18093690" cy="746417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6835394" y="10517696"/>
            <a:ext cx="6433312" cy="56546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1005205" y="10517696"/>
            <a:ext cx="4623943" cy="56546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F3BF290-B0BF-7549-B1C1-77DE666B5F08}" type="datetime1">
              <a:rPr lang="en-GB" smtClean="0"/>
              <a:t>05/10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14474953" y="10517696"/>
            <a:ext cx="4623943" cy="56546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917106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80" r:id="rId3"/>
    <p:sldLayoutId id="2147483677" r:id="rId4"/>
    <p:sldLayoutId id="2147483678" r:id="rId5"/>
    <p:sldLayoutId id="2147483679" r:id="rId6"/>
    <p:sldLayoutId id="2147483672" r:id="rId7"/>
  </p:sldLayoutIdLst>
  <p:hf hdr="0" ftr="0" dt="0"/>
  <p:txStyles>
    <p:titleStyle>
      <a:lvl1pPr eaLnBrk="1" hangingPunct="1">
        <a:defRPr>
          <a:latin typeface="+mj-lt"/>
          <a:ea typeface="+mj-ea"/>
          <a:cs typeface="+mj-cs"/>
        </a:defRPr>
      </a:lvl1pPr>
    </p:titleStyle>
    <p:bodyStyle>
      <a:lvl1pPr marL="0" eaLnBrk="1" hangingPunct="1">
        <a:defRPr>
          <a:latin typeface="+mn-lt"/>
          <a:ea typeface="+mn-ea"/>
          <a:cs typeface="+mn-cs"/>
        </a:defRPr>
      </a:lvl1pPr>
      <a:lvl2pPr marL="457200" eaLnBrk="1" hangingPunct="1">
        <a:defRPr>
          <a:latin typeface="+mn-lt"/>
          <a:ea typeface="+mn-ea"/>
          <a:cs typeface="+mn-cs"/>
        </a:defRPr>
      </a:lvl2pPr>
      <a:lvl3pPr marL="914400" eaLnBrk="1" hangingPunct="1">
        <a:defRPr>
          <a:latin typeface="+mn-lt"/>
          <a:ea typeface="+mn-ea"/>
          <a:cs typeface="+mn-cs"/>
        </a:defRPr>
      </a:lvl3pPr>
      <a:lvl4pPr marL="1371600" eaLnBrk="1" hangingPunct="1">
        <a:defRPr>
          <a:latin typeface="+mn-lt"/>
          <a:ea typeface="+mn-ea"/>
          <a:cs typeface="+mn-cs"/>
        </a:defRPr>
      </a:lvl4pPr>
      <a:lvl5pPr marL="1828800" eaLnBrk="1" hangingPunct="1">
        <a:defRPr>
          <a:latin typeface="+mn-lt"/>
          <a:ea typeface="+mn-ea"/>
          <a:cs typeface="+mn-cs"/>
        </a:defRPr>
      </a:lvl5pPr>
      <a:lvl6pPr marL="2286000" eaLnBrk="1" hangingPunct="1">
        <a:defRPr>
          <a:latin typeface="+mn-lt"/>
          <a:ea typeface="+mn-ea"/>
          <a:cs typeface="+mn-cs"/>
        </a:defRPr>
      </a:lvl6pPr>
      <a:lvl7pPr marL="2743200" eaLnBrk="1" hangingPunct="1">
        <a:defRPr>
          <a:latin typeface="+mn-lt"/>
          <a:ea typeface="+mn-ea"/>
          <a:cs typeface="+mn-cs"/>
        </a:defRPr>
      </a:lvl7pPr>
      <a:lvl8pPr marL="3200400" eaLnBrk="1" hangingPunct="1">
        <a:defRPr>
          <a:latin typeface="+mn-lt"/>
          <a:ea typeface="+mn-ea"/>
          <a:cs typeface="+mn-cs"/>
        </a:defRPr>
      </a:lvl8pPr>
      <a:lvl9pPr marL="3657600" eaLnBrk="1" hangingPunct="1">
        <a:defRPr>
          <a:latin typeface="+mn-lt"/>
          <a:ea typeface="+mn-ea"/>
          <a:cs typeface="+mn-cs"/>
        </a:defRPr>
      </a:lvl9pPr>
    </p:bodyStyle>
    <p:otherStyle>
      <a:lvl1pPr marL="0" eaLnBrk="1" hangingPunct="1">
        <a:defRPr>
          <a:latin typeface="+mn-lt"/>
          <a:ea typeface="+mn-ea"/>
          <a:cs typeface="+mn-cs"/>
        </a:defRPr>
      </a:lvl1pPr>
      <a:lvl2pPr marL="457200" eaLnBrk="1" hangingPunct="1">
        <a:defRPr>
          <a:latin typeface="+mn-lt"/>
          <a:ea typeface="+mn-ea"/>
          <a:cs typeface="+mn-cs"/>
        </a:defRPr>
      </a:lvl2pPr>
      <a:lvl3pPr marL="914400" eaLnBrk="1" hangingPunct="1">
        <a:defRPr>
          <a:latin typeface="+mn-lt"/>
          <a:ea typeface="+mn-ea"/>
          <a:cs typeface="+mn-cs"/>
        </a:defRPr>
      </a:lvl3pPr>
      <a:lvl4pPr marL="1371600" eaLnBrk="1" hangingPunct="1">
        <a:defRPr>
          <a:latin typeface="+mn-lt"/>
          <a:ea typeface="+mn-ea"/>
          <a:cs typeface="+mn-cs"/>
        </a:defRPr>
      </a:lvl4pPr>
      <a:lvl5pPr marL="1828800" eaLnBrk="1" hangingPunct="1">
        <a:defRPr>
          <a:latin typeface="+mn-lt"/>
          <a:ea typeface="+mn-ea"/>
          <a:cs typeface="+mn-cs"/>
        </a:defRPr>
      </a:lvl5pPr>
      <a:lvl6pPr marL="2286000" eaLnBrk="1" hangingPunct="1">
        <a:defRPr>
          <a:latin typeface="+mn-lt"/>
          <a:ea typeface="+mn-ea"/>
          <a:cs typeface="+mn-cs"/>
        </a:defRPr>
      </a:lvl6pPr>
      <a:lvl7pPr marL="2743200" eaLnBrk="1" hangingPunct="1">
        <a:defRPr>
          <a:latin typeface="+mn-lt"/>
          <a:ea typeface="+mn-ea"/>
          <a:cs typeface="+mn-cs"/>
        </a:defRPr>
      </a:lvl7pPr>
      <a:lvl8pPr marL="3200400" eaLnBrk="1" hangingPunct="1">
        <a:defRPr>
          <a:latin typeface="+mn-lt"/>
          <a:ea typeface="+mn-ea"/>
          <a:cs typeface="+mn-cs"/>
        </a:defRPr>
      </a:lvl8pPr>
      <a:lvl9pPr marL="3657600" eaLnBrk="1" hangingPunct="1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1">
            <a:extLst>
              <a:ext uri="{FF2B5EF4-FFF2-40B4-BE49-F238E27FC236}">
                <a16:creationId xmlns:a16="http://schemas.microsoft.com/office/drawing/2014/main" id="{8CC5C600-4405-6A98-0326-BE7292C524DF}"/>
              </a:ext>
            </a:extLst>
          </p:cNvPr>
          <p:cNvSpPr txBox="1"/>
          <p:nvPr/>
        </p:nvSpPr>
        <p:spPr>
          <a:xfrm>
            <a:off x="979042" y="3693309"/>
            <a:ext cx="6408712" cy="1476045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0"/>
              </a:spcBef>
              <a:tabLst>
                <a:tab pos="2695575" algn="l"/>
                <a:tab pos="4194810" algn="l"/>
              </a:tabLst>
            </a:pPr>
            <a:r>
              <a:rPr lang="en-GB" sz="4700" spc="300" dirty="0">
                <a:solidFill>
                  <a:schemeClr val="accent2"/>
                </a:solidFill>
                <a:latin typeface="Avenir" panose="02000503020000020003" pitchFamily="2" charset="0"/>
                <a:cs typeface="Avenir-Roman"/>
              </a:rPr>
              <a:t>EEF Webinar Series</a:t>
            </a:r>
          </a:p>
          <a:p>
            <a:pPr marL="12700">
              <a:lnSpc>
                <a:spcPct val="100000"/>
              </a:lnSpc>
              <a:spcBef>
                <a:spcPts val="130"/>
              </a:spcBef>
              <a:tabLst>
                <a:tab pos="2695575" algn="l"/>
                <a:tab pos="4194810" algn="l"/>
              </a:tabLst>
            </a:pPr>
            <a:r>
              <a:rPr lang="en-GB" sz="4700" spc="300" dirty="0">
                <a:solidFill>
                  <a:schemeClr val="accent2"/>
                </a:solidFill>
                <a:latin typeface="Avenir" panose="02000503020000020003" pitchFamily="2" charset="0"/>
                <a:cs typeface="Avenir-Roman"/>
              </a:rPr>
              <a:t>10 October 2023</a:t>
            </a:r>
            <a:endParaRPr sz="4700" dirty="0">
              <a:solidFill>
                <a:schemeClr val="accent2"/>
              </a:solidFill>
              <a:latin typeface="Avenir" panose="02000503020000020003" pitchFamily="2" charset="0"/>
              <a:cs typeface="Avenir-Roman"/>
            </a:endParaRPr>
          </a:p>
        </p:txBody>
      </p:sp>
      <p:pic>
        <p:nvPicPr>
          <p:cNvPr id="5" name="Picture 4" descr="Logo&#10;&#10;Description automatically generated">
            <a:extLst>
              <a:ext uri="{FF2B5EF4-FFF2-40B4-BE49-F238E27FC236}">
                <a16:creationId xmlns:a16="http://schemas.microsoft.com/office/drawing/2014/main" id="{CB9ADA2C-6460-BEFD-3DA2-CECFEEAD910B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364" r="4651" b="11733"/>
          <a:stretch/>
        </p:blipFill>
        <p:spPr>
          <a:xfrm>
            <a:off x="0" y="7238851"/>
            <a:ext cx="4435426" cy="4070499"/>
          </a:xfrm>
          <a:prstGeom prst="rect">
            <a:avLst/>
          </a:prstGeom>
        </p:spPr>
      </p:pic>
      <p:sp>
        <p:nvSpPr>
          <p:cNvPr id="4" name="object 4">
            <a:extLst>
              <a:ext uri="{FF2B5EF4-FFF2-40B4-BE49-F238E27FC236}">
                <a16:creationId xmlns:a16="http://schemas.microsoft.com/office/drawing/2014/main" id="{C651A16B-75C9-D866-5C86-921DA2C84D55}"/>
              </a:ext>
            </a:extLst>
          </p:cNvPr>
          <p:cNvSpPr txBox="1">
            <a:spLocks/>
          </p:cNvSpPr>
          <p:nvPr/>
        </p:nvSpPr>
        <p:spPr>
          <a:xfrm>
            <a:off x="979042" y="1058286"/>
            <a:ext cx="10791602" cy="2478884"/>
          </a:xfrm>
          <a:prstGeom prst="rect">
            <a:avLst/>
          </a:prstGeom>
        </p:spPr>
        <p:txBody>
          <a:bodyPr vert="horz" wrap="square" lIns="0" tIns="16510" rIns="0" bIns="0" rtlCol="0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pPr marL="12700" algn="l">
              <a:spcBef>
                <a:spcPts val="130"/>
              </a:spcBef>
              <a:tabLst>
                <a:tab pos="4483100" algn="l"/>
              </a:tabLst>
            </a:pPr>
            <a:r>
              <a:rPr lang="en-GB" sz="8000" spc="595" dirty="0">
                <a:solidFill>
                  <a:schemeClr val="bg1"/>
                </a:solidFill>
                <a:latin typeface="Avenir Black" panose="02000503020000020003" pitchFamily="2" charset="0"/>
              </a:rPr>
              <a:t>Making Strides in Sustainability</a:t>
            </a:r>
            <a:endParaRPr lang="en-GB" sz="8000" dirty="0">
              <a:solidFill>
                <a:schemeClr val="bg1"/>
              </a:solidFill>
              <a:latin typeface="Avenir Black" panose="02000503020000020003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4529182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3">
            <a:extLst>
              <a:ext uri="{FF2B5EF4-FFF2-40B4-BE49-F238E27FC236}">
                <a16:creationId xmlns:a16="http://schemas.microsoft.com/office/drawing/2014/main" id="{9B59A560-42A3-9D8D-20AE-D575E12762F3}"/>
              </a:ext>
            </a:extLst>
          </p:cNvPr>
          <p:cNvSpPr txBox="1">
            <a:spLocks/>
          </p:cNvSpPr>
          <p:nvPr/>
        </p:nvSpPr>
        <p:spPr>
          <a:xfrm>
            <a:off x="763018" y="614115"/>
            <a:ext cx="11305256" cy="2973891"/>
          </a:xfrm>
          <a:prstGeom prst="rect">
            <a:avLst/>
          </a:prstGeom>
        </p:spPr>
        <p:txBody>
          <a:bodyPr vert="horz" wrap="square" lIns="0" tIns="308610" rIns="0" bIns="0" rtlCol="0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pPr marL="12700" algn="l">
              <a:spcBef>
                <a:spcPts val="2430"/>
              </a:spcBef>
            </a:pPr>
            <a:r>
              <a:rPr lang="en-GB" sz="5700" spc="365" dirty="0">
                <a:solidFill>
                  <a:schemeClr val="bg1"/>
                </a:solidFill>
                <a:latin typeface="Avenir Black" panose="02000503020000020003" pitchFamily="2" charset="0"/>
              </a:rPr>
              <a:t>Welcome</a:t>
            </a:r>
          </a:p>
          <a:p>
            <a:pPr marL="12700" algn="l">
              <a:spcBef>
                <a:spcPts val="2430"/>
              </a:spcBef>
            </a:pPr>
            <a:r>
              <a:rPr lang="en-GB" sz="4800" spc="365" dirty="0">
                <a:solidFill>
                  <a:schemeClr val="accent6"/>
                </a:solidFill>
                <a:latin typeface="Avenir Book" panose="02000503020000020003" pitchFamily="2" charset="0"/>
              </a:rPr>
              <a:t>Ulf </a:t>
            </a:r>
            <a:r>
              <a:rPr lang="en-GB" sz="4800" spc="365" dirty="0" err="1">
                <a:solidFill>
                  <a:schemeClr val="accent6"/>
                </a:solidFill>
                <a:latin typeface="Avenir Book" panose="02000503020000020003" pitchFamily="2" charset="0"/>
              </a:rPr>
              <a:t>Brömster</a:t>
            </a:r>
            <a:r>
              <a:rPr lang="en-GB" sz="4800" spc="365" dirty="0">
                <a:solidFill>
                  <a:schemeClr val="accent6"/>
                </a:solidFill>
                <a:latin typeface="Avenir Book" panose="02000503020000020003" pitchFamily="2" charset="0"/>
              </a:rPr>
              <a:t> – EEF Sustainability Chair</a:t>
            </a:r>
            <a:endParaRPr lang="en-GB" sz="4800" spc="420" dirty="0">
              <a:solidFill>
                <a:schemeClr val="accent6"/>
              </a:solidFill>
              <a:latin typeface="Avenir Book" panose="02000503020000020003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1147546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73CBC4D9-A89C-4693-855C-229450F83656}"/>
              </a:ext>
            </a:extLst>
          </p:cNvPr>
          <p:cNvSpPr/>
          <p:nvPr/>
        </p:nvSpPr>
        <p:spPr>
          <a:xfrm>
            <a:off x="1326890" y="1982267"/>
            <a:ext cx="8424936" cy="590465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>
              <a:solidFill>
                <a:schemeClr val="bg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93B8BFC-634F-72E4-DA92-A3CD924ABA0D}"/>
              </a:ext>
            </a:extLst>
          </p:cNvPr>
          <p:cNvSpPr/>
          <p:nvPr/>
        </p:nvSpPr>
        <p:spPr>
          <a:xfrm>
            <a:off x="10196066" y="1982267"/>
            <a:ext cx="8424936" cy="590465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>
              <a:solidFill>
                <a:schemeClr val="bg1"/>
              </a:solidFill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1771130" y="2414315"/>
            <a:ext cx="7085108" cy="482465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 algn="l">
              <a:lnSpc>
                <a:spcPct val="124000"/>
              </a:lnSpc>
              <a:spcBef>
                <a:spcPts val="95"/>
              </a:spcBef>
            </a:pPr>
            <a:r>
              <a:rPr lang="en-GB" sz="4000" b="1" dirty="0">
                <a:solidFill>
                  <a:schemeClr val="accent6"/>
                </a:solidFill>
                <a:latin typeface="Avenir" panose="02000503020000020003" pitchFamily="2" charset="0"/>
                <a:cs typeface="Avenir-Roman"/>
              </a:rPr>
              <a:t>Wageningen University &amp; Research</a:t>
            </a:r>
            <a:endParaRPr lang="en-GB" sz="3600" dirty="0">
              <a:solidFill>
                <a:schemeClr val="accent6"/>
              </a:solidFill>
              <a:latin typeface="Avenir" panose="02000503020000020003" pitchFamily="2" charset="0"/>
              <a:cs typeface="Avenir-Roman"/>
            </a:endParaRPr>
          </a:p>
          <a:p>
            <a:pPr marL="12700" marR="5080" algn="l">
              <a:lnSpc>
                <a:spcPct val="124000"/>
              </a:lnSpc>
              <a:spcBef>
                <a:spcPts val="95"/>
              </a:spcBef>
            </a:pPr>
            <a:r>
              <a:rPr lang="en-GB" sz="3600" i="1" dirty="0">
                <a:solidFill>
                  <a:schemeClr val="bg1"/>
                </a:solidFill>
                <a:latin typeface="Avenir" panose="02000503020000020003" pitchFamily="2" charset="0"/>
                <a:cs typeface="Avenir-Roman"/>
              </a:rPr>
              <a:t>Exploring GHG emissions and the Hoofprint research project</a:t>
            </a:r>
          </a:p>
          <a:p>
            <a:pPr marL="12700" marR="5080" algn="l">
              <a:lnSpc>
                <a:spcPct val="124000"/>
              </a:lnSpc>
              <a:spcBef>
                <a:spcPts val="95"/>
              </a:spcBef>
            </a:pPr>
            <a:endParaRPr lang="en-GB" sz="3600" i="1" dirty="0">
              <a:solidFill>
                <a:schemeClr val="bg1"/>
              </a:solidFill>
              <a:latin typeface="Avenir" panose="02000503020000020003" pitchFamily="2" charset="0"/>
              <a:cs typeface="Avenir-Roman"/>
            </a:endParaRPr>
          </a:p>
          <a:p>
            <a:pPr marL="12700" marR="5080" algn="l">
              <a:lnSpc>
                <a:spcPct val="124000"/>
              </a:lnSpc>
              <a:spcBef>
                <a:spcPts val="95"/>
              </a:spcBef>
            </a:pPr>
            <a:r>
              <a:rPr lang="en-GB" sz="3200" b="0" i="0" dirty="0" err="1">
                <a:solidFill>
                  <a:schemeClr val="bg1"/>
                </a:solidFill>
                <a:effectLst/>
                <a:latin typeface="Almaden Sans"/>
              </a:rPr>
              <a:t>Theun</a:t>
            </a:r>
            <a:r>
              <a:rPr lang="en-GB" sz="3200" b="0" i="0" dirty="0">
                <a:solidFill>
                  <a:schemeClr val="bg1"/>
                </a:solidFill>
                <a:effectLst/>
                <a:latin typeface="Almaden Sans"/>
              </a:rPr>
              <a:t> Vellinga, Iris Huisman, Hassan </a:t>
            </a:r>
            <a:r>
              <a:rPr lang="en-GB" sz="3200" b="0" i="0" dirty="0" err="1">
                <a:solidFill>
                  <a:schemeClr val="bg1"/>
                </a:solidFill>
                <a:effectLst/>
                <a:latin typeface="Almaden Sans"/>
              </a:rPr>
              <a:t>Pishgar</a:t>
            </a:r>
            <a:r>
              <a:rPr lang="en-GB" sz="3200" b="0" i="0" dirty="0">
                <a:solidFill>
                  <a:schemeClr val="bg1"/>
                </a:solidFill>
                <a:effectLst/>
                <a:latin typeface="Almaden Sans"/>
              </a:rPr>
              <a:t> </a:t>
            </a:r>
            <a:r>
              <a:rPr lang="en-GB" sz="3200" b="0" i="0" dirty="0" err="1">
                <a:solidFill>
                  <a:schemeClr val="bg1"/>
                </a:solidFill>
                <a:effectLst/>
                <a:latin typeface="Almaden Sans"/>
              </a:rPr>
              <a:t>Komleh</a:t>
            </a:r>
            <a:endParaRPr lang="en-US" sz="3200" dirty="0">
              <a:solidFill>
                <a:schemeClr val="bg1"/>
              </a:solidFill>
              <a:latin typeface="Avenir" panose="02000503020000020003" pitchFamily="2" charset="0"/>
            </a:endParaRP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DA67CBF7-2B41-07C7-8A37-0D59C802297D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en-GB" smtClean="0"/>
              <a:pPr/>
              <a:t>3</a:t>
            </a:fld>
            <a:endParaRPr lang="en-GB" dirty="0"/>
          </a:p>
        </p:txBody>
      </p:sp>
      <p:sp>
        <p:nvSpPr>
          <p:cNvPr id="2" name="object 3">
            <a:extLst>
              <a:ext uri="{FF2B5EF4-FFF2-40B4-BE49-F238E27FC236}">
                <a16:creationId xmlns:a16="http://schemas.microsoft.com/office/drawing/2014/main" id="{8673766B-4881-C9C7-5DAF-9205AB74D09C}"/>
              </a:ext>
            </a:extLst>
          </p:cNvPr>
          <p:cNvSpPr txBox="1"/>
          <p:nvPr/>
        </p:nvSpPr>
        <p:spPr>
          <a:xfrm>
            <a:off x="10628114" y="2414315"/>
            <a:ext cx="7677793" cy="4836452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 lvl="2" algn="l">
              <a:lnSpc>
                <a:spcPct val="124000"/>
              </a:lnSpc>
              <a:spcBef>
                <a:spcPts val="95"/>
              </a:spcBef>
            </a:pPr>
            <a:r>
              <a:rPr lang="en-GB" sz="4000" b="1" dirty="0">
                <a:solidFill>
                  <a:schemeClr val="accent6"/>
                </a:solidFill>
                <a:latin typeface="Avenir" panose="02000503020000020003" pitchFamily="2" charset="0"/>
              </a:rPr>
              <a:t>Initiating change</a:t>
            </a:r>
          </a:p>
          <a:p>
            <a:pPr marL="12700" marR="5080" lvl="2" algn="l">
              <a:lnSpc>
                <a:spcPct val="124000"/>
              </a:lnSpc>
              <a:spcBef>
                <a:spcPts val="95"/>
              </a:spcBef>
            </a:pPr>
            <a:r>
              <a:rPr lang="en-GB" sz="3600" b="1" i="1" dirty="0">
                <a:solidFill>
                  <a:schemeClr val="bg1"/>
                </a:solidFill>
                <a:latin typeface="Avenir" panose="02000503020000020003" pitchFamily="2" charset="0"/>
              </a:rPr>
              <a:t>Exploring how we handle hard truths and pave the way for behaviour change</a:t>
            </a:r>
          </a:p>
          <a:p>
            <a:pPr marL="12700" marR="5080" lvl="2" algn="l">
              <a:lnSpc>
                <a:spcPct val="124000"/>
              </a:lnSpc>
              <a:spcBef>
                <a:spcPts val="95"/>
              </a:spcBef>
            </a:pPr>
            <a:endParaRPr lang="en-GB" sz="3600" b="1" i="1" dirty="0">
              <a:solidFill>
                <a:schemeClr val="bg1"/>
              </a:solidFill>
              <a:latin typeface="Avenir" panose="02000503020000020003" pitchFamily="2" charset="0"/>
            </a:endParaRPr>
          </a:p>
          <a:p>
            <a:pPr marL="12700" marR="5080" lvl="2" algn="l">
              <a:lnSpc>
                <a:spcPct val="124000"/>
              </a:lnSpc>
              <a:spcBef>
                <a:spcPts val="95"/>
              </a:spcBef>
            </a:pPr>
            <a:r>
              <a:rPr lang="en-GB" sz="3200" b="1" dirty="0">
                <a:solidFill>
                  <a:schemeClr val="bg1"/>
                </a:solidFill>
                <a:latin typeface="Avenir" panose="02000503020000020003" pitchFamily="2" charset="0"/>
              </a:rPr>
              <a:t>Nat </a:t>
            </a:r>
            <a:r>
              <a:rPr lang="en-GB" sz="3200" b="1" dirty="0" err="1">
                <a:solidFill>
                  <a:schemeClr val="bg1"/>
                </a:solidFill>
                <a:latin typeface="Avenir" panose="02000503020000020003" pitchFamily="2" charset="0"/>
              </a:rPr>
              <a:t>Waran</a:t>
            </a:r>
            <a:endParaRPr lang="en-GB" sz="3200" b="1" dirty="0">
              <a:solidFill>
                <a:schemeClr val="bg1"/>
              </a:solidFill>
              <a:latin typeface="Avenir" panose="02000503020000020003" pitchFamily="2" charset="0"/>
            </a:endParaRPr>
          </a:p>
          <a:p>
            <a:pPr marL="12700" marR="5080" lvl="2" algn="l">
              <a:lnSpc>
                <a:spcPct val="124000"/>
              </a:lnSpc>
              <a:spcBef>
                <a:spcPts val="95"/>
              </a:spcBef>
            </a:pPr>
            <a:endParaRPr sz="3600" dirty="0">
              <a:latin typeface="Avenir" panose="02000503020000020003" pitchFamily="2" charset="0"/>
              <a:cs typeface="Avenir-Roman"/>
            </a:endParaRPr>
          </a:p>
        </p:txBody>
      </p:sp>
      <p:sp>
        <p:nvSpPr>
          <p:cNvPr id="6" name="object 3">
            <a:extLst>
              <a:ext uri="{FF2B5EF4-FFF2-40B4-BE49-F238E27FC236}">
                <a16:creationId xmlns:a16="http://schemas.microsoft.com/office/drawing/2014/main" id="{A13F5AEA-0540-3867-7E75-0B893CAAF6A3}"/>
              </a:ext>
            </a:extLst>
          </p:cNvPr>
          <p:cNvSpPr txBox="1">
            <a:spLocks/>
          </p:cNvSpPr>
          <p:nvPr/>
        </p:nvSpPr>
        <p:spPr>
          <a:xfrm>
            <a:off x="763018" y="614115"/>
            <a:ext cx="11305256" cy="1188787"/>
          </a:xfrm>
          <a:prstGeom prst="rect">
            <a:avLst/>
          </a:prstGeom>
        </p:spPr>
        <p:txBody>
          <a:bodyPr vert="horz" wrap="square" lIns="0" tIns="308610" rIns="0" bIns="0" rtlCol="0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pPr marL="12700" algn="l">
              <a:spcBef>
                <a:spcPts val="2430"/>
              </a:spcBef>
            </a:pPr>
            <a:r>
              <a:rPr lang="en-GB" sz="5700" spc="365" dirty="0">
                <a:solidFill>
                  <a:schemeClr val="accent1"/>
                </a:solidFill>
                <a:latin typeface="Avenir Black" panose="02000503020000020003" pitchFamily="2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49215685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>
            <a:extLst>
              <a:ext uri="{FF2B5EF4-FFF2-40B4-BE49-F238E27FC236}">
                <a16:creationId xmlns:a16="http://schemas.microsoft.com/office/drawing/2014/main" id="{6AD9A02B-F521-7EC4-BAE6-EC3A308D0B10}"/>
              </a:ext>
            </a:extLst>
          </p:cNvPr>
          <p:cNvSpPr txBox="1">
            <a:spLocks/>
          </p:cNvSpPr>
          <p:nvPr/>
        </p:nvSpPr>
        <p:spPr>
          <a:xfrm>
            <a:off x="763018" y="614115"/>
            <a:ext cx="8554801" cy="2541721"/>
          </a:xfrm>
          <a:prstGeom prst="rect">
            <a:avLst/>
          </a:prstGeom>
        </p:spPr>
        <p:txBody>
          <a:bodyPr vert="horz" wrap="square" lIns="0" tIns="308610" rIns="0" bIns="0" rtlCol="0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pPr marL="12700" marR="5080" algn="l">
              <a:lnSpc>
                <a:spcPct val="124000"/>
              </a:lnSpc>
              <a:spcBef>
                <a:spcPts val="95"/>
              </a:spcBef>
            </a:pPr>
            <a:r>
              <a:rPr lang="en-GB" sz="6000" b="1" dirty="0">
                <a:solidFill>
                  <a:schemeClr val="accent6"/>
                </a:solidFill>
                <a:latin typeface="Avenir" panose="02000503020000020003" pitchFamily="2" charset="0"/>
                <a:cs typeface="Avenir-Roman"/>
              </a:rPr>
              <a:t>Wageningen University &amp; Research</a:t>
            </a:r>
            <a:endParaRPr lang="en-GB" sz="5400" dirty="0">
              <a:solidFill>
                <a:schemeClr val="accent6"/>
              </a:solidFill>
              <a:latin typeface="Avenir" panose="02000503020000020003" pitchFamily="2" charset="0"/>
              <a:cs typeface="Avenir-Roman"/>
            </a:endParaRPr>
          </a:p>
        </p:txBody>
      </p:sp>
    </p:spTree>
    <p:extLst>
      <p:ext uri="{BB962C8B-B14F-4D97-AF65-F5344CB8AC3E}">
        <p14:creationId xmlns:p14="http://schemas.microsoft.com/office/powerpoint/2010/main" val="138942709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IAAAAAAAAAAwAAAAMAAAAA/////wQASwwAAAAAAAAAAAAAIAD///////////////8AAAD////////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90bxdL7LKNHndZT1t1vQ/AFAAAAAAADAAAAAwADAAAAAQADAAEA////////BAAAAAMAEAALT9vQhmVJ+UWtgWy0iyRQ9QUAAAABAAMAAAAAAAM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CAMAAAAAAAAAAAAACAB////////////////AAAA////////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AgEDAAAAAwD///////8lAAZMaW5rZWRTaGFwZVByZXNlbnRhdGlvblNldHRpbmdzRGF0YV8wBQAAAAEABAAAAAAABAAAAAIA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N0bxdL7LKNHndZT1t1vQ/ADRGF0YQAbAAAABExpbmtlZFNoYXBlRGF0YQAFAAAAAAACTmFtZQAZAAAATGlua2VkU2hhcGVzRGF0YVByb3BlcnR5ABBWZXJzaW9uAAAAAAAJTGFzdFdyaXRlAOS2IeGHAQAAAAEA/////8YAxgAAAAVfaWQAEAAAAARP29CGZUn5Ra2BbLSLJFD1A0RhdGEAUwAAAAhQcmVzZW50YXRpb25TY2FubmVkRm9yTGlua2VkU2hhcGVzAAECTnVtYmVyRm9ybWF0U2VwYXJhdG9yTW9kZQAKAAAAQXV0b21hdGljAAACTmFtZQAkAAAATGlua2VkU2hhcGVQcmVzZW50YXRpb25TZXR0aW5nc0RhdGEAEFZlcnNpb24AAAAAAAlMYXN0V3JpdGUAP7ch4Yc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heme/theme1.xml><?xml version="1.0" encoding="utf-8"?>
<a:theme xmlns:a="http://schemas.openxmlformats.org/drawingml/2006/main" name="EEF Brand Colours">
  <a:themeElements>
    <a:clrScheme name="EEF Brand Colours">
      <a:dk1>
        <a:srgbClr val="004B87"/>
      </a:dk1>
      <a:lt1>
        <a:srgbClr val="FFFFFF"/>
      </a:lt1>
      <a:dk2>
        <a:srgbClr val="004B87"/>
      </a:dk2>
      <a:lt2>
        <a:srgbClr val="FFFFFF"/>
      </a:lt2>
      <a:accent1>
        <a:srgbClr val="004B87"/>
      </a:accent1>
      <a:accent2>
        <a:srgbClr val="FDC300"/>
      </a:accent2>
      <a:accent3>
        <a:srgbClr val="004B87"/>
      </a:accent3>
      <a:accent4>
        <a:srgbClr val="FDC300"/>
      </a:accent4>
      <a:accent5>
        <a:srgbClr val="004B87"/>
      </a:accent5>
      <a:accent6>
        <a:srgbClr val="FDC300"/>
      </a:accent6>
      <a:hlink>
        <a:srgbClr val="FFFFFF"/>
      </a:hlink>
      <a:folHlink>
        <a:srgbClr val="004B87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EF_PPT_Slides_AW" id="{96386E00-DADC-5C44-B059-BE37920F170C}" vid="{8F85AE8A-BD91-3347-A6EC-3006987FD6B1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EEF Brand Colours</Template>
  <TotalTime>31</TotalTime>
  <Words>61</Words>
  <Application>Microsoft Macintosh PowerPoint</Application>
  <PresentationFormat>Custom</PresentationFormat>
  <Paragraphs>16</Paragraphs>
  <Slides>4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1" baseType="lpstr">
      <vt:lpstr>Almaden Sans</vt:lpstr>
      <vt:lpstr>Avenir</vt:lpstr>
      <vt:lpstr>Avenir Black</vt:lpstr>
      <vt:lpstr>Avenir Book</vt:lpstr>
      <vt:lpstr>Avenir Medium</vt:lpstr>
      <vt:lpstr>Calibri</vt:lpstr>
      <vt:lpstr>EEF Brand Colours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lice ward</dc:creator>
  <cp:lastModifiedBy>alice ward</cp:lastModifiedBy>
  <cp:revision>16</cp:revision>
  <dcterms:created xsi:type="dcterms:W3CDTF">2023-03-31T11:56:29Z</dcterms:created>
  <dcterms:modified xsi:type="dcterms:W3CDTF">2023-10-05T14:02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23-03-24T00:00:00Z</vt:filetime>
  </property>
  <property fmtid="{D5CDD505-2E9C-101B-9397-08002B2CF9AE}" pid="3" name="Creator">
    <vt:lpwstr>Adobe InDesign 18.2 (Macintosh)</vt:lpwstr>
  </property>
  <property fmtid="{D5CDD505-2E9C-101B-9397-08002B2CF9AE}" pid="4" name="LastSaved">
    <vt:filetime>2023-03-24T00:00:00Z</vt:filetime>
  </property>
  <property fmtid="{D5CDD505-2E9C-101B-9397-08002B2CF9AE}" pid="5" name="Producer">
    <vt:lpwstr>Adobe PDF Library 17.0</vt:lpwstr>
  </property>
</Properties>
</file>